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8" r:id="rId1"/>
    <p:sldMasterId id="2147483783" r:id="rId2"/>
    <p:sldMasterId id="2147483795" r:id="rId3"/>
  </p:sldMasterIdLst>
  <p:notesMasterIdLst>
    <p:notesMasterId r:id="rId29"/>
  </p:notesMasterIdLst>
  <p:handoutMasterIdLst>
    <p:handoutMasterId r:id="rId30"/>
  </p:handoutMasterIdLst>
  <p:sldIdLst>
    <p:sldId id="1112" r:id="rId4"/>
    <p:sldId id="1115" r:id="rId5"/>
    <p:sldId id="1121" r:id="rId6"/>
    <p:sldId id="1131" r:id="rId7"/>
    <p:sldId id="1133" r:id="rId8"/>
    <p:sldId id="1132" r:id="rId9"/>
    <p:sldId id="1140" r:id="rId10"/>
    <p:sldId id="1141" r:id="rId11"/>
    <p:sldId id="1116" r:id="rId12"/>
    <p:sldId id="1134" r:id="rId13"/>
    <p:sldId id="1075" r:id="rId14"/>
    <p:sldId id="1137" r:id="rId15"/>
    <p:sldId id="1117" r:id="rId16"/>
    <p:sldId id="1135" r:id="rId17"/>
    <p:sldId id="1136" r:id="rId18"/>
    <p:sldId id="1120" r:id="rId19"/>
    <p:sldId id="1128" r:id="rId20"/>
    <p:sldId id="1129" r:id="rId21"/>
    <p:sldId id="1130" r:id="rId22"/>
    <p:sldId id="1122" r:id="rId23"/>
    <p:sldId id="1123" r:id="rId24"/>
    <p:sldId id="1142" r:id="rId25"/>
    <p:sldId id="1125" r:id="rId26"/>
    <p:sldId id="1126" r:id="rId27"/>
    <p:sldId id="1127" r:id="rId28"/>
  </p:sldIdLst>
  <p:sldSz cx="12192000" cy="6858000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1A1"/>
    <a:srgbClr val="C2CEB3"/>
    <a:srgbClr val="D4DBCA"/>
    <a:srgbClr val="DBDE52"/>
    <a:srgbClr val="ACA800"/>
    <a:srgbClr val="01923E"/>
    <a:srgbClr val="366000"/>
    <a:srgbClr val="FFFF5D"/>
    <a:srgbClr val="31B146"/>
    <a:srgbClr val="E7E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66" autoAdjust="0"/>
    <p:restoredTop sz="89049" autoAdjust="0"/>
  </p:normalViewPr>
  <p:slideViewPr>
    <p:cSldViewPr snapToGrid="0" showGuides="1">
      <p:cViewPr>
        <p:scale>
          <a:sx n="98" d="100"/>
          <a:sy n="98" d="100"/>
        </p:scale>
        <p:origin x="-108" y="-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8" d="100"/>
        <a:sy n="138" d="100"/>
      </p:scale>
      <p:origin x="0" y="26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8" y="13"/>
            <a:ext cx="2951166" cy="49688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051" y="13"/>
            <a:ext cx="2951164" cy="49688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4C58D488-F5B3-405A-8E8E-120FA6DE6A52}" type="datetimeFigureOut">
              <a:rPr lang="ru-RU" smtClean="0"/>
              <a:pPr/>
              <a:t>29.07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8" y="9442469"/>
            <a:ext cx="2951166" cy="49688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051" y="9442469"/>
            <a:ext cx="2951164" cy="49688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18D694FC-21DA-4FB5-8580-66EA71E99E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473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6" y="13"/>
            <a:ext cx="2951166" cy="49688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051" y="13"/>
            <a:ext cx="2951164" cy="496887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BBFA6C56-2A64-4089-BAE3-4EA59C255D26}" type="datetimeFigureOut">
              <a:rPr lang="ru-RU" smtClean="0"/>
              <a:pPr/>
              <a:t>29.07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6125"/>
            <a:ext cx="6634162" cy="3732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6" tIns="45637" rIns="91276" bIns="4563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52" y="4721236"/>
            <a:ext cx="5446711" cy="4473577"/>
          </a:xfrm>
          <a:prstGeom prst="rect">
            <a:avLst/>
          </a:prstGeom>
        </p:spPr>
        <p:txBody>
          <a:bodyPr vert="horz" lIns="91276" tIns="45637" rIns="91276" bIns="4563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6" y="9442469"/>
            <a:ext cx="2951166" cy="49688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051" y="9442469"/>
            <a:ext cx="2951164" cy="496887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692472F7-48B4-41CE-AC68-1E02AFB2335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009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2472F7-48B4-41CE-AC68-1E02AFB2335D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4105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gif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7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74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4468" y="2729269"/>
            <a:ext cx="6714779" cy="482440"/>
          </a:xfrm>
          <a:prstGeom prst="rect">
            <a:avLst/>
          </a:prstGeom>
        </p:spPr>
        <p:txBody>
          <a:bodyPr lIns="91407" tIns="45705" rIns="91407" bIns="45705"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7226654" y="5223866"/>
            <a:ext cx="2384405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21471" y="379021"/>
            <a:ext cx="370357" cy="2858851"/>
          </a:xfrm>
          <a:prstGeom prst="rect">
            <a:avLst/>
          </a:prstGeom>
        </p:spPr>
        <p:txBody>
          <a:bodyPr vert="eaVert"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1994" y="379021"/>
            <a:ext cx="6652145" cy="2858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0" y="1718550"/>
            <a:ext cx="8442609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61985" y="6614570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61985" y="6376148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1986" y="511725"/>
            <a:ext cx="9222292" cy="277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116CAC-23FF-4A1C-8292-B6EF5E5A55D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9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3339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BDB5A-4BFB-4187-A49C-ECACB4B7D6B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9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6113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214A5-2DC6-48AB-A541-16E80806E13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9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1877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24FEF5-2E31-46BE-BBC5-D7D63A588B0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9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1167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43F5A6-F914-4053-9438-04F6D3D0FC8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9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2783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5D5E69-62DB-4236-ABC2-6D2AD3C2CC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9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1634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33B4C8-93AE-48F8-967A-05A8D594EA5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9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C:\Users\user\Desktop\Презентация Э.А. Зарипова\Слайд1.JPG"/>
          <p:cNvPicPr>
            <a:picLocks noChangeAspect="1" noChangeArrowheads="1"/>
          </p:cNvPicPr>
          <p:nvPr userDrawn="1"/>
        </p:nvPicPr>
        <p:blipFill rotWithShape="1">
          <a:blip r:embed="rId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20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3957" y="0"/>
            <a:ext cx="499114" cy="6858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437" y="28625"/>
            <a:ext cx="1170873" cy="87815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7228" y="241805"/>
            <a:ext cx="1217520" cy="434600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1603331" y="241805"/>
            <a:ext cx="4156010" cy="4925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70000"/>
              </a:lnSpc>
            </a:pPr>
            <a:r>
              <a:rPr lang="ru-RU" dirty="0" smtClean="0">
                <a:solidFill>
                  <a:srgbClr val="AC9054"/>
                </a:solidFill>
              </a:rPr>
              <a:t>Министерство сельского хозяйства</a:t>
            </a:r>
          </a:p>
          <a:p>
            <a:pPr>
              <a:lnSpc>
                <a:spcPct val="70000"/>
              </a:lnSpc>
            </a:pPr>
            <a:r>
              <a:rPr lang="ru-RU" dirty="0" smtClean="0">
                <a:solidFill>
                  <a:srgbClr val="AC9054"/>
                </a:solidFill>
              </a:rPr>
              <a:t>и продовольствия Республики Татарстан</a:t>
            </a:r>
            <a:endParaRPr lang="ru-RU" dirty="0">
              <a:solidFill>
                <a:srgbClr val="AC90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35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9E7C04-4505-495E-A369-2CA17F76DF7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9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8165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4B9CB0-FF2D-42A9-97C9-5F0E8B90BA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9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807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ADC10-99C9-49AF-9C9C-40C58BB32F7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9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5102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A48404-3566-48BC-BB03-8A9E655C8CD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29.07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3802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6197600" y="1600200"/>
            <a:ext cx="538480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6197600" y="3938589"/>
            <a:ext cx="538480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452835B9-D50F-43BF-AD4B-B4E6252BB06F}" type="datetime1">
              <a:rPr lang="ru-RU" smtClean="0">
                <a:solidFill>
                  <a:srgbClr val="04617B">
                    <a:shade val="90000"/>
                  </a:srgbClr>
                </a:solidFill>
              </a:rPr>
              <a:t>29.07.2020</a:t>
            </a:fld>
            <a:endParaRPr lang="ru-RU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endParaRPr lang="ru-RU">
              <a:solidFill>
                <a:srgbClr val="04617B">
                  <a:shade val="90000"/>
                </a:srgbClr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737600" y="6245225"/>
            <a:ext cx="2844800" cy="476250"/>
          </a:xfrm>
        </p:spPr>
        <p:txBody>
          <a:bodyPr/>
          <a:lstStyle>
            <a:lvl1pPr>
              <a:defRPr/>
            </a:lvl1pPr>
          </a:lstStyle>
          <a:p>
            <a:fld id="{F4EE4866-38FB-46EB-BD6A-040DA04F87EE}" type="slidenum">
              <a:rPr lang="ru-RU">
                <a:solidFill>
                  <a:srgbClr val="04617B">
                    <a:shade val="90000"/>
                  </a:srgbClr>
                </a:solidFill>
              </a:rPr>
              <a:pPr/>
              <a:t>‹#›</a:t>
            </a:fld>
            <a:endParaRPr lang="ru-RU">
              <a:solidFill>
                <a:srgbClr val="04617B">
                  <a:shade val="9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34046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49A2B0-273E-4D6A-8571-505F95A5CAEC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42033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615052-0DA7-4B39-9EF7-397FDF727846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07662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BD8EEA-EFFA-478F-890A-FF6F39DAC20C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03372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1B73B5-A3B4-4F77-90AB-B55CFA4B84DE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4094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505CC6-78ED-47FC-B03E-47CAE5D0B56F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6186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497" y="4407514"/>
            <a:ext cx="10362660" cy="599395"/>
          </a:xfrm>
          <a:prstGeom prst="rect">
            <a:avLst/>
          </a:prstGeom>
        </p:spPr>
        <p:txBody>
          <a:bodyPr lIns="91407" tIns="45705" rIns="91407" bIns="45705"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497" y="2907443"/>
            <a:ext cx="10362660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8815" indent="0">
              <a:buNone/>
              <a:defRPr sz="1800"/>
            </a:lvl2pPr>
            <a:lvl3pPr marL="917709" indent="0">
              <a:buNone/>
              <a:defRPr sz="1600"/>
            </a:lvl3pPr>
            <a:lvl4pPr marL="1376577" indent="0">
              <a:buNone/>
              <a:defRPr sz="1400"/>
            </a:lvl4pPr>
            <a:lvl5pPr marL="1835437" indent="0">
              <a:buNone/>
              <a:defRPr sz="1400"/>
            </a:lvl5pPr>
            <a:lvl6pPr marL="2294299" indent="0">
              <a:buNone/>
              <a:defRPr sz="1400"/>
            </a:lvl6pPr>
            <a:lvl7pPr marL="2753159" indent="0">
              <a:buNone/>
              <a:defRPr sz="1400"/>
            </a:lvl7pPr>
            <a:lvl8pPr marL="3212019" indent="0">
              <a:buNone/>
              <a:defRPr sz="1400"/>
            </a:lvl8pPr>
            <a:lvl9pPr marL="367087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CA0700-BA77-4FE8-B5D7-ED3443C3FA81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53556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ED41B8-F5CA-4FEE-B2D5-3826D44C344F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23872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76066F-39E7-4F0C-942F-82AA337BE1DD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03006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2C32EF-F347-40DF-9D18-A83DCCD6AA6E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84159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7C4785-684A-47F5-AB83-60602D04AA7F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39345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2DF1DC-7602-4F35-92CE-F7ECE4092859}" type="datetime1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.07.2020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FA8949-653F-4DF1-9188-BB3F8B672966}" type="slidenum"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38385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976262" y="1990667"/>
            <a:ext cx="282284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06407" y="1990667"/>
            <a:ext cx="2822843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3868"/>
            <a:ext cx="10973880" cy="283411"/>
          </a:xfrm>
          <a:prstGeom prst="rect">
            <a:avLst/>
          </a:prstGeom>
        </p:spPr>
        <p:txBody>
          <a:bodyPr lIns="91407" tIns="45705" rIns="91407" bIns="45705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091" y="1535541"/>
            <a:ext cx="538650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091" y="2175319"/>
            <a:ext cx="538650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271" y="1535541"/>
            <a:ext cx="538866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4271" y="2175319"/>
            <a:ext cx="538866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6799"/>
            <a:ext cx="4010725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673" y="273746"/>
            <a:ext cx="6816289" cy="5852139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060" y="1435100"/>
            <a:ext cx="4010725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8725" y="5069555"/>
            <a:ext cx="7315200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8725" y="612265"/>
            <a:ext cx="73152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58815" indent="0">
              <a:buNone/>
              <a:defRPr sz="2900"/>
            </a:lvl2pPr>
            <a:lvl3pPr marL="917709" indent="0">
              <a:buNone/>
              <a:defRPr sz="2400"/>
            </a:lvl3pPr>
            <a:lvl4pPr marL="1376577" indent="0">
              <a:buNone/>
              <a:defRPr sz="2000"/>
            </a:lvl4pPr>
            <a:lvl5pPr marL="1835437" indent="0">
              <a:buNone/>
              <a:defRPr sz="2000"/>
            </a:lvl5pPr>
            <a:lvl6pPr marL="2294299" indent="0">
              <a:buNone/>
              <a:defRPr sz="2000"/>
            </a:lvl6pPr>
            <a:lvl7pPr marL="2753159" indent="0">
              <a:buNone/>
              <a:defRPr sz="2000"/>
            </a:lvl7pPr>
            <a:lvl8pPr marL="3212019" indent="0">
              <a:buNone/>
              <a:defRPr sz="2000"/>
            </a:lvl8pPr>
            <a:lvl9pPr marL="3670879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8725" y="5367836"/>
            <a:ext cx="7315200" cy="805015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6.gi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62219" y="3240"/>
            <a:ext cx="612347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792056"/>
            <a:ext cx="4973989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61985" y="6265172"/>
            <a:ext cx="11630453" cy="432472"/>
            <a:chOff x="75" y="3868"/>
            <a:chExt cx="5385" cy="26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8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0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783894" indent="-783894" defTabSz="898597" fontAlgn="base">
                <a:spcBef>
                  <a:spcPct val="0"/>
                </a:spcBef>
                <a:spcAft>
                  <a:spcPct val="0"/>
                </a:spcAft>
                <a:tabLst>
                  <a:tab pos="782296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976220" y="1158139"/>
            <a:ext cx="5801189" cy="510218"/>
            <a:chOff x="915" y="715"/>
            <a:chExt cx="2686" cy="315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45147" y="6598841"/>
            <a:ext cx="265655" cy="1554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109954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859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9306545" y="93946"/>
            <a:ext cx="2760208" cy="513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61986" y="701388"/>
            <a:ext cx="11965221" cy="43733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61986" y="6731662"/>
            <a:ext cx="11965221" cy="43735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58815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17709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7657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3543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4381" indent="-192790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8815" indent="-26289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6594" indent="-15614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8833" indent="-130649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7699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6554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25425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84280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815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770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57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543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429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5315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1201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7087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D1DF63-1857-4873-8530-8FB2D59B5688}" type="datetime1">
              <a:rPr lang="ru-RU" smtClean="0"/>
              <a:t>29.07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0961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807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437" y="28625"/>
            <a:ext cx="1170873" cy="87815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7228" y="241805"/>
            <a:ext cx="1217520" cy="4346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603331" y="241805"/>
            <a:ext cx="4156010" cy="4925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C905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инистерство сельского хозяйства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C9054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продовольствия Республики Татарстан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AC905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5101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6.xml"/><Relationship Id="rId5" Type="http://schemas.microsoft.com/office/2007/relationships/hdphoto" Target="../media/hdphoto2.wdp"/><Relationship Id="rId4" Type="http://schemas.openxmlformats.org/officeDocument/2006/relationships/image" Target="../media/image10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mailto:bolotaev@VSK.RU" TargetMode="External"/><Relationship Id="rId2" Type="http://schemas.openxmlformats.org/officeDocument/2006/relationships/hyperlink" Target="mailto:sankovaop@rshbins.ru" TargetMode="External"/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67267" y="935479"/>
            <a:ext cx="1162473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ИОРИТЕТЫ НА 2021 ГОД ДЛЯ ПОВЫШЕНИЯ </a:t>
            </a:r>
          </a:p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ТДАЧИ ПАШНИ И ЭФФЕКТИВНОСТИ ОТРАСЛИ ЗЕМЛЕДЕЛИЯ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19197" y="2231161"/>
            <a:ext cx="1090122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Оптимизация технологических операций, пять в одном (5 в 1)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ение формированием урожая (оснащение самоходными опрыскивателями)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вышения эффективност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ащит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ероприятий (оснаститься растворными узлами)</a:t>
            </a:r>
          </a:p>
        </p:txBody>
      </p:sp>
      <p:pic>
        <p:nvPicPr>
          <p:cNvPr id="8194" name="Picture 2" descr="Сеялка Bourgault 3310 купить. Сеялка механическая продажа. Цеппелин Украина.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822645" y="3956703"/>
            <a:ext cx="3480232" cy="2298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Овал 7"/>
          <p:cNvSpPr/>
          <p:nvPr/>
        </p:nvSpPr>
        <p:spPr>
          <a:xfrm>
            <a:off x="822644" y="3956703"/>
            <a:ext cx="393107" cy="3845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8196" name="Picture 4" descr="ОПРЫСКИВАТЕЛЬ САМОХОДНЫЙ БАРС-30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8876" y="3956703"/>
            <a:ext cx="3833858" cy="2298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Овал 10"/>
          <p:cNvSpPr/>
          <p:nvPr/>
        </p:nvSpPr>
        <p:spPr>
          <a:xfrm>
            <a:off x="4358876" y="3956703"/>
            <a:ext cx="393107" cy="3845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13" name="Picture 3" descr="C:\Users\Новичков\Desktop\бюджет\Растворный узел\фото\Арск\игенче\7d6c111a-c761-4cd2-a04c-4410e7ef95be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120"/>
          <a:stretch/>
        </p:blipFill>
        <p:spPr bwMode="auto">
          <a:xfrm>
            <a:off x="8261225" y="3956703"/>
            <a:ext cx="3765675" cy="2298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Овал 13"/>
          <p:cNvSpPr/>
          <p:nvPr/>
        </p:nvSpPr>
        <p:spPr>
          <a:xfrm>
            <a:off x="8261225" y="3948158"/>
            <a:ext cx="393107" cy="38456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74186" y="1878087"/>
            <a:ext cx="106328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ru-RU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становление почвенной </a:t>
            </a:r>
            <a:r>
              <a:rPr lang="ru-RU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оты</a:t>
            </a:r>
            <a:r>
              <a:rPr lang="ru-RU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i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кисление</a:t>
            </a:r>
            <a:r>
              <a:rPr lang="ru-RU" i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чв, заселение полезными микроорганизмами</a:t>
            </a:r>
            <a:r>
              <a:rPr lang="ru-RU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32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90726141"/>
              </p:ext>
            </p:extLst>
          </p:nvPr>
        </p:nvGraphicFramePr>
        <p:xfrm>
          <a:off x="827088" y="2366921"/>
          <a:ext cx="11108534" cy="412595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3816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2325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0654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8585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811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87362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428976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льтура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г на 1 га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-, к зерновым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05559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1600" baseline="-250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kern="1200" baseline="-250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600" b="1" kern="1200" baseline="-25000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600" kern="1200" baseline="-250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кг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8321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рновые колосовые </a:t>
                      </a:r>
                      <a:b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урожайность зерна – 30 ц/га)</a:t>
                      </a:r>
                      <a:endParaRPr lang="ru-RU" sz="16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4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8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,4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,6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800" b="1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2722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рнобобовые (горох</a:t>
                      </a:r>
                      <a:r>
                        <a:rPr lang="ru-RU" sz="16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 25 ц/га</a:t>
                      </a: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6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3,4</a:t>
                      </a:r>
                      <a:endParaRPr lang="ru-RU" sz="1800" b="1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8321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евер двухгодичного пользования (150 ц/га, з/м), после 1</a:t>
                      </a:r>
                      <a:r>
                        <a:rPr lang="ru-RU" sz="16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укоса</a:t>
                      </a:r>
                      <a:endParaRPr lang="ru-RU" sz="16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,5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9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,1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7</a:t>
                      </a:r>
                      <a:r>
                        <a:rPr lang="en-US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5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120,4</a:t>
                      </a:r>
                      <a:endParaRPr lang="ru-RU" sz="1800" b="1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01078">
                <a:tc>
                  <a:txBody>
                    <a:bodyPr/>
                    <a:lstStyle/>
                    <a:p>
                      <a:pPr marL="0" algn="l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6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дька</a:t>
                      </a:r>
                      <a:r>
                        <a:rPr lang="ru-RU" sz="1600" u="none" strike="noStrike" kern="12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асличная</a:t>
                      </a:r>
                      <a:r>
                        <a:rPr lang="ru-RU" sz="16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br>
                        <a:rPr lang="ru-RU" sz="16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6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80 ц</a:t>
                      </a:r>
                      <a:r>
                        <a:rPr lang="ru-RU" sz="1600" u="none" strike="noStrike" kern="12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ки/га</a:t>
                      </a:r>
                      <a:r>
                        <a:rPr lang="ru-RU" sz="16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6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u="none" strike="noStrike" kern="12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8</a:t>
                      </a:r>
                      <a:endParaRPr lang="ru-RU" sz="1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8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241,4</a:t>
                      </a:r>
                      <a:endParaRPr lang="ru-RU" sz="1800" b="1" i="0" u="none" strike="noStrike" kern="1200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2700" marR="1270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96695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нник на </a:t>
                      </a:r>
                      <a:r>
                        <a:rPr lang="ru-RU" sz="1600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дерат</a:t>
                      </a: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заделка 200 ц з/м)</a:t>
                      </a:r>
                      <a:endParaRPr lang="ru-RU" sz="16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0960" marR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8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4</a:t>
                      </a:r>
                      <a:endParaRPr lang="ru-RU" sz="1800" b="1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357,4</a:t>
                      </a:r>
                      <a:endParaRPr lang="ru-RU" sz="1800" b="1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046163" y="1196975"/>
            <a:ext cx="10688637" cy="868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>
            <a:norm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КОЛИЧЕСТВО ОСНОВНЫХ ЭЛЕМЕНТОВ ПИТАНИЯ, </a:t>
            </a:r>
            <a:b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СТАВЛЯЕМЫХ В КОРНЕВЫХ И ПОЖНИВНЫХ ОСТАТКАХ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8690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35000" y="801177"/>
            <a:ext cx="11523133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5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РЕКОМЕНДОВАННЫЕ ПЛОЩАДИ ПОЖНИВНЫХ ПОСЕВОВ В 2020 ГОДУ</a:t>
            </a:r>
            <a:endParaRPr lang="ru-RU" sz="25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5948039"/>
              </p:ext>
            </p:extLst>
          </p:nvPr>
        </p:nvGraphicFramePr>
        <p:xfrm>
          <a:off x="616780" y="1376035"/>
          <a:ext cx="5605996" cy="531204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14321">
                  <a:extLst>
                    <a:ext uri="{9D8B030D-6E8A-4147-A177-3AD203B41FA5}">
                      <a16:colId xmlns:a16="http://schemas.microsoft.com/office/drawing/2014/main" xmlns="" val="2184811909"/>
                    </a:ext>
                  </a:extLst>
                </a:gridCol>
                <a:gridCol w="2128205">
                  <a:extLst>
                    <a:ext uri="{9D8B030D-6E8A-4147-A177-3AD203B41FA5}">
                      <a16:colId xmlns:a16="http://schemas.microsoft.com/office/drawing/2014/main" xmlns="" val="1692319260"/>
                    </a:ext>
                  </a:extLst>
                </a:gridCol>
                <a:gridCol w="2063470">
                  <a:extLst>
                    <a:ext uri="{9D8B030D-6E8A-4147-A177-3AD203B41FA5}">
                      <a16:colId xmlns:a16="http://schemas.microsoft.com/office/drawing/2014/main" xmlns="" val="4012712713"/>
                    </a:ext>
                  </a:extLst>
                </a:gridCol>
              </a:tblGrid>
              <a:tr h="4723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ь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ерновых и </a:t>
                      </a:r>
                      <a:r>
                        <a:rPr lang="ru-RU" sz="1400" b="0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рноб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х культур, </a:t>
                      </a:r>
                      <a:r>
                        <a:rPr lang="ru-RU" sz="1400" b="0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 от зернового клина, </a:t>
                      </a:r>
                      <a:r>
                        <a:rPr lang="ru-RU" sz="14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6414269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Times New Roman"/>
                        </a:rPr>
                        <a:t>Агрыз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7,3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effectLst/>
                          <a:latin typeface="Arial Cyr"/>
                        </a:rPr>
                        <a:t>2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9569289"/>
                  </a:ext>
                </a:extLst>
              </a:tr>
              <a:tr h="2287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Азнакае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6,9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8961918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Аксубаев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9,5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,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91623260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Актаныш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7,7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8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4139142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Алексеев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effectLst/>
                          <a:latin typeface="Arial Cyr"/>
                        </a:rPr>
                        <a:t>56,5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5,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752829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Алькее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0,3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60409704"/>
                  </a:ext>
                </a:extLst>
              </a:tr>
              <a:tr h="23050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Альметьев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0,8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5965055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Апасто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3,1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,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1801995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Ар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57,1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5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9652346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Атн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19,5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1,9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6968923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Бавлин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8,8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,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0030353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Балтас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1,6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,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2989146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Бугульмин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2,5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,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0919942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Бу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58,0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5,8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1569922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В.Услон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effectLst/>
                          <a:latin typeface="Arial Cyr"/>
                        </a:rPr>
                        <a:t>16,6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1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9486990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В.Гор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1,3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,1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2134511"/>
                  </a:ext>
                </a:extLst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Дрожжано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7,9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,8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Елабуж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2,7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,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За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9,3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,9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Зеленодоль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15,2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1,5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Кайбиц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7,3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,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190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К.Усть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1,4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effectLst/>
                          <a:latin typeface="Arial Cyr"/>
                        </a:rPr>
                        <a:t>2,1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2606151"/>
              </p:ext>
            </p:extLst>
          </p:nvPr>
        </p:nvGraphicFramePr>
        <p:xfrm>
          <a:off x="6311788" y="1389053"/>
          <a:ext cx="5674169" cy="53123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35342">
                  <a:extLst>
                    <a:ext uri="{9D8B030D-6E8A-4147-A177-3AD203B41FA5}">
                      <a16:colId xmlns:a16="http://schemas.microsoft.com/office/drawing/2014/main" xmlns="" val="2184811909"/>
                    </a:ext>
                  </a:extLst>
                </a:gridCol>
                <a:gridCol w="2081797">
                  <a:extLst>
                    <a:ext uri="{9D8B030D-6E8A-4147-A177-3AD203B41FA5}">
                      <a16:colId xmlns:a16="http://schemas.microsoft.com/office/drawing/2014/main" xmlns="" val="1692319260"/>
                    </a:ext>
                  </a:extLst>
                </a:gridCol>
                <a:gridCol w="2057030">
                  <a:extLst>
                    <a:ext uri="{9D8B030D-6E8A-4147-A177-3AD203B41FA5}">
                      <a16:colId xmlns:a16="http://schemas.microsoft.com/office/drawing/2014/main" xmlns="" val="4012712713"/>
                    </a:ext>
                  </a:extLst>
                </a:gridCol>
              </a:tblGrid>
              <a:tr h="4691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ь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ерновых и </a:t>
                      </a:r>
                      <a:r>
                        <a:rPr lang="ru-RU" sz="1400" b="0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рноб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х культур, </a:t>
                      </a:r>
                      <a:r>
                        <a:rPr lang="ru-RU" sz="1400" b="0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 от зернового клина, </a:t>
                      </a:r>
                      <a:r>
                        <a:rPr lang="ru-RU" sz="14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6414269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Times New Roman"/>
                        </a:rPr>
                        <a:t>Кукмор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4,5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,4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9569289"/>
                  </a:ext>
                </a:extLst>
              </a:tr>
              <a:tr h="22723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Лаише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6,0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,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8961918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Лениногор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6,8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91623260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Мамадыш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1,7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4139142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Менделеев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15,4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1,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752829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Мензел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8,0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8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60409704"/>
                  </a:ext>
                </a:extLst>
              </a:tr>
              <a:tr h="22896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Муслюмов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8,0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5965055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Нижнекам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3,7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,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1801995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Новошешмин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9,4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,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9652346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Нурлат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0,0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6968923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Пестречин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0,6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3,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0030353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Р. Слобод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9,8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5,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2989146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Сабин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4,6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,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0919942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Сармано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6,3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1569922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Спас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5,6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9486990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Тетюш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4,3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2134511"/>
                  </a:ext>
                </a:extLst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Тукае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4,4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Тюляч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3,7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,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Черемша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2,0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4,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Чистополь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53,0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5,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175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Times New Roman"/>
                        </a:rPr>
                        <a:t>Ютаз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effectLst/>
                          <a:latin typeface="Arial Cyr"/>
                        </a:rPr>
                        <a:t>20,3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effectLst/>
                          <a:latin typeface="Arial Cyr"/>
                        </a:rPr>
                        <a:t>2,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400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 РТ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i="0" u="none" strike="noStrike" dirty="0">
                          <a:effectLst/>
                          <a:latin typeface="Arial Cyr"/>
                        </a:rPr>
                        <a:t>1549,4</a:t>
                      </a:r>
                    </a:p>
                  </a:txBody>
                  <a:tcPr marL="7620" marR="7620" marT="7620" marB="0" anchor="ctr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effectLst/>
                          <a:latin typeface="Arial Cyr"/>
                        </a:rPr>
                        <a:t>154,9</a:t>
                      </a:r>
                    </a:p>
                  </a:txBody>
                  <a:tcPr marL="7620" marR="7620" marT="7620" marB="0" anchor="ctr">
                    <a:solidFill>
                      <a:srgbClr val="DEE1A1"/>
                    </a:solidFill>
                  </a:tcPr>
                </a:tc>
              </a:tr>
            </a:tbl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11868812" y="6581665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1897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467C1945-15D0-44C9-AD12-D71400502F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806824" y="981126"/>
            <a:ext cx="11385176" cy="1170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4200"/>
              </a:lnSpc>
            </a:pPr>
            <a:r>
              <a:rPr lang="ru-RU" sz="3400" b="1" dirty="0">
                <a:solidFill>
                  <a:srgbClr val="0070C0"/>
                </a:solidFill>
                <a:cs typeface="Arial" pitchFamily="34" charset="0"/>
              </a:rPr>
              <a:t>Для обеспечения </a:t>
            </a:r>
            <a:r>
              <a:rPr lang="ru-RU" sz="4000" b="1" dirty="0" smtClean="0">
                <a:solidFill>
                  <a:srgbClr val="006600"/>
                </a:solidFill>
              </a:rPr>
              <a:t>1</a:t>
            </a:r>
            <a:r>
              <a:rPr lang="ru-RU" sz="3600" b="1" dirty="0" smtClean="0"/>
              <a:t> </a:t>
            </a:r>
            <a:r>
              <a:rPr lang="ru-RU" sz="3400" b="1" dirty="0" err="1">
                <a:solidFill>
                  <a:srgbClr val="0070C0"/>
                </a:solidFill>
                <a:cs typeface="Arial" pitchFamily="34" charset="0"/>
              </a:rPr>
              <a:t>усл</a:t>
            </a:r>
            <a:r>
              <a:rPr lang="ru-RU" sz="3400" b="1" dirty="0">
                <a:solidFill>
                  <a:srgbClr val="0070C0"/>
                </a:solidFill>
                <a:cs typeface="Arial" pitchFamily="34" charset="0"/>
              </a:rPr>
              <a:t>. гол. скота </a:t>
            </a:r>
            <a:br>
              <a:rPr lang="ru-RU" sz="3400" b="1" dirty="0">
                <a:solidFill>
                  <a:srgbClr val="0070C0"/>
                </a:solidFill>
                <a:cs typeface="Arial" pitchFamily="34" charset="0"/>
              </a:rPr>
            </a:br>
            <a:r>
              <a:rPr lang="ru-RU" sz="3400" b="1" dirty="0">
                <a:solidFill>
                  <a:srgbClr val="0070C0"/>
                </a:solidFill>
                <a:cs typeface="Arial" pitchFamily="34" charset="0"/>
              </a:rPr>
              <a:t>необходимо</a:t>
            </a:r>
            <a:r>
              <a:rPr lang="ru-RU" sz="3600" b="1" dirty="0" smtClean="0"/>
              <a:t> </a:t>
            </a:r>
            <a:r>
              <a:rPr lang="ru-RU" sz="4000" b="1" dirty="0" smtClean="0">
                <a:solidFill>
                  <a:srgbClr val="006600"/>
                </a:solidFill>
              </a:rPr>
              <a:t>1,4</a:t>
            </a:r>
            <a:r>
              <a:rPr lang="ru-RU" sz="3600" b="1" dirty="0" smtClean="0"/>
              <a:t> </a:t>
            </a:r>
            <a:r>
              <a:rPr lang="ru-RU" sz="3400" b="1" dirty="0">
                <a:solidFill>
                  <a:srgbClr val="0070C0"/>
                </a:solidFill>
                <a:cs typeface="Arial" pitchFamily="34" charset="0"/>
              </a:rPr>
              <a:t>га продуктивных кормовых культур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1744894" y="6579298"/>
            <a:ext cx="413239" cy="27044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b="1" spc="120" dirty="0" smtClean="0">
                <a:solidFill>
                  <a:schemeClr val="tx1"/>
                </a:solidFill>
                <a:cs typeface="Arial" pitchFamily="34" charset="0"/>
              </a:rPr>
              <a:t>12</a:t>
            </a:r>
            <a:endParaRPr lang="ru-RU" b="1" spc="120" dirty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77"/>
          <a:stretch/>
        </p:blipFill>
        <p:spPr bwMode="auto">
          <a:xfrm>
            <a:off x="1316758" y="2151446"/>
            <a:ext cx="10428136" cy="4528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6" name="Группа 15"/>
          <p:cNvGrpSpPr/>
          <p:nvPr/>
        </p:nvGrpSpPr>
        <p:grpSpPr>
          <a:xfrm>
            <a:off x="2279175" y="2853167"/>
            <a:ext cx="8543497" cy="3056116"/>
            <a:chOff x="2384569" y="1463537"/>
            <a:chExt cx="6569251" cy="1437847"/>
          </a:xfrm>
        </p:grpSpPr>
        <p:sp>
          <p:nvSpPr>
            <p:cNvPr id="18" name="Rectangle 5"/>
            <p:cNvSpPr>
              <a:spLocks noChangeArrowheads="1"/>
            </p:cNvSpPr>
            <p:nvPr/>
          </p:nvSpPr>
          <p:spPr bwMode="auto">
            <a:xfrm>
              <a:off x="6078465" y="1463537"/>
              <a:ext cx="2875355" cy="1437847"/>
            </a:xfrm>
            <a:prstGeom prst="rect">
              <a:avLst/>
            </a:prstGeom>
            <a:solidFill>
              <a:srgbClr val="FFFFFF">
                <a:alpha val="85882"/>
              </a:srgbClr>
            </a:solidFill>
            <a:ln w="38100" algn="ctr">
              <a:solidFill>
                <a:srgbClr val="987A1A"/>
              </a:solidFill>
              <a:miter lim="800000"/>
              <a:headEnd/>
              <a:tailEnd/>
            </a:ln>
          </p:spPr>
          <p:txBody>
            <a:bodyPr lIns="13500" tIns="0" rIns="13500" bIns="0" anchor="ctr"/>
            <a:lstStyle/>
            <a:p>
              <a:pPr algn="ctr"/>
              <a:r>
                <a:rPr lang="ru-RU" sz="2800" b="1" dirty="0">
                  <a:cs typeface="Arial" pitchFamily="34" charset="0"/>
                </a:rPr>
                <a:t>из многолетних трав: </a:t>
              </a:r>
            </a:p>
            <a:p>
              <a:r>
                <a:rPr lang="ru-RU" sz="2800" b="1" dirty="0" smtClean="0">
                  <a:cs typeface="Arial" pitchFamily="34" charset="0"/>
                </a:rPr>
                <a:t>  - </a:t>
              </a:r>
              <a:r>
                <a:rPr lang="ru-RU" sz="2800" b="1" dirty="0">
                  <a:cs typeface="Arial" pitchFamily="34" charset="0"/>
                </a:rPr>
                <a:t>злаковые - 15%</a:t>
              </a:r>
            </a:p>
            <a:p>
              <a:r>
                <a:rPr lang="ru-RU" sz="2800" b="1" dirty="0" smtClean="0">
                  <a:cs typeface="Arial" pitchFamily="34" charset="0"/>
                </a:rPr>
                <a:t>  - </a:t>
              </a:r>
              <a:r>
                <a:rPr lang="ru-RU" sz="2800" b="1" dirty="0">
                  <a:cs typeface="Arial" pitchFamily="34" charset="0"/>
                </a:rPr>
                <a:t>бобовые - 50%</a:t>
              </a:r>
            </a:p>
            <a:p>
              <a:r>
                <a:rPr lang="ru-RU" sz="2800" b="1" dirty="0" smtClean="0">
                  <a:cs typeface="Arial" pitchFamily="34" charset="0"/>
                </a:rPr>
                <a:t>  - </a:t>
              </a:r>
              <a:r>
                <a:rPr lang="ru-RU" sz="2800" b="1" dirty="0">
                  <a:cs typeface="Arial" pitchFamily="34" charset="0"/>
                </a:rPr>
                <a:t>бобово-злаковая</a:t>
              </a:r>
              <a:br>
                <a:rPr lang="ru-RU" sz="2800" b="1" dirty="0">
                  <a:cs typeface="Arial" pitchFamily="34" charset="0"/>
                </a:rPr>
              </a:br>
              <a:r>
                <a:rPr lang="ru-RU" sz="2800" b="1" dirty="0">
                  <a:cs typeface="Arial" pitchFamily="34" charset="0"/>
                </a:rPr>
                <a:t> </a:t>
              </a:r>
              <a:r>
                <a:rPr lang="ru-RU" sz="2800" b="1" dirty="0" smtClean="0">
                  <a:cs typeface="Arial" pitchFamily="34" charset="0"/>
                </a:rPr>
                <a:t>   смесь </a:t>
              </a:r>
              <a:r>
                <a:rPr lang="ru-RU" sz="2800" b="1" dirty="0">
                  <a:cs typeface="Arial" pitchFamily="34" charset="0"/>
                </a:rPr>
                <a:t>- 35%</a:t>
              </a:r>
            </a:p>
          </p:txBody>
        </p:sp>
        <p:sp>
          <p:nvSpPr>
            <p:cNvPr id="20" name="Rectangle 6"/>
            <p:cNvSpPr>
              <a:spLocks noChangeArrowheads="1"/>
            </p:cNvSpPr>
            <p:nvPr/>
          </p:nvSpPr>
          <p:spPr bwMode="auto">
            <a:xfrm>
              <a:off x="2384569" y="1463537"/>
              <a:ext cx="2801903" cy="1437847"/>
            </a:xfrm>
            <a:prstGeom prst="rect">
              <a:avLst/>
            </a:prstGeom>
            <a:solidFill>
              <a:srgbClr val="FFFFFF">
                <a:alpha val="85882"/>
              </a:srgbClr>
            </a:solidFill>
            <a:ln w="38100" algn="ctr">
              <a:solidFill>
                <a:srgbClr val="987A1A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r>
                <a:rPr lang="ru-RU" sz="2800" b="1" dirty="0" smtClean="0">
                  <a:cs typeface="Arial" pitchFamily="34" charset="0"/>
                </a:rPr>
                <a:t>структура </a:t>
              </a:r>
            </a:p>
            <a:p>
              <a:pPr algn="ctr"/>
              <a:r>
                <a:rPr lang="ru-RU" sz="2800" b="1" dirty="0" smtClean="0">
                  <a:cs typeface="Arial" pitchFamily="34" charset="0"/>
                </a:rPr>
                <a:t>кормового </a:t>
              </a:r>
              <a:r>
                <a:rPr lang="ru-RU" sz="2800" b="1" dirty="0">
                  <a:cs typeface="Arial" pitchFamily="34" charset="0"/>
                </a:rPr>
                <a:t>клина</a:t>
              </a:r>
            </a:p>
            <a:p>
              <a:pPr algn="ctr"/>
              <a:endParaRPr lang="ru-RU" b="1" dirty="0" smtClean="0">
                <a:cs typeface="Arial" pitchFamily="34" charset="0"/>
              </a:endParaRPr>
            </a:p>
            <a:p>
              <a:pPr algn="ctr"/>
              <a:r>
                <a:rPr lang="ru-RU" sz="2800" b="1" dirty="0" smtClean="0">
                  <a:cs typeface="Arial" pitchFamily="34" charset="0"/>
                </a:rPr>
                <a:t> мн</a:t>
              </a:r>
              <a:r>
                <a:rPr lang="ru-RU" sz="2800" b="1" dirty="0">
                  <a:cs typeface="Arial" pitchFamily="34" charset="0"/>
                </a:rPr>
                <a:t>. травы - 70% </a:t>
              </a:r>
            </a:p>
            <a:p>
              <a:pPr algn="ctr"/>
              <a:r>
                <a:rPr lang="ru-RU" sz="2800" b="1" dirty="0">
                  <a:solidFill>
                    <a:srgbClr val="C00000"/>
                  </a:solidFill>
                  <a:cs typeface="Arial" pitchFamily="34" charset="0"/>
                </a:rPr>
                <a:t>  </a:t>
              </a:r>
              <a:r>
                <a:rPr lang="en-US" sz="2800" b="1" dirty="0">
                  <a:solidFill>
                    <a:srgbClr val="C00000"/>
                  </a:solidFill>
                  <a:cs typeface="Arial" pitchFamily="34" charset="0"/>
                </a:rPr>
                <a:t>(</a:t>
              </a:r>
              <a:r>
                <a:rPr lang="en-US" sz="2800" b="1" dirty="0" smtClean="0">
                  <a:solidFill>
                    <a:srgbClr val="C00000"/>
                  </a:solidFill>
                  <a:cs typeface="Arial" pitchFamily="34" charset="0"/>
                </a:rPr>
                <a:t>0</a:t>
              </a:r>
              <a:r>
                <a:rPr lang="ru-RU" sz="2800" b="1" dirty="0" smtClean="0">
                  <a:solidFill>
                    <a:srgbClr val="C00000"/>
                  </a:solidFill>
                  <a:cs typeface="Arial" pitchFamily="34" charset="0"/>
                </a:rPr>
                <a:t>,</a:t>
              </a:r>
              <a:r>
                <a:rPr lang="en-US" sz="2800" b="1" dirty="0" smtClean="0">
                  <a:solidFill>
                    <a:srgbClr val="C00000"/>
                  </a:solidFill>
                  <a:cs typeface="Arial" pitchFamily="34" charset="0"/>
                </a:rPr>
                <a:t>9 </a:t>
              </a:r>
              <a:r>
                <a:rPr lang="ru-RU" sz="2800" b="1" dirty="0">
                  <a:solidFill>
                    <a:srgbClr val="C00000"/>
                  </a:solidFill>
                  <a:cs typeface="Arial" pitchFamily="34" charset="0"/>
                </a:rPr>
                <a:t>га на </a:t>
              </a:r>
              <a:r>
                <a:rPr lang="ru-RU" sz="2800" b="1" dirty="0" err="1">
                  <a:solidFill>
                    <a:srgbClr val="C00000"/>
                  </a:solidFill>
                  <a:cs typeface="Arial" pitchFamily="34" charset="0"/>
                </a:rPr>
                <a:t>усл</a:t>
              </a:r>
              <a:r>
                <a:rPr lang="ru-RU" sz="2800" b="1" dirty="0">
                  <a:solidFill>
                    <a:srgbClr val="C00000"/>
                  </a:solidFill>
                  <a:cs typeface="Arial" pitchFamily="34" charset="0"/>
                </a:rPr>
                <a:t>. гол</a:t>
              </a:r>
              <a:r>
                <a:rPr lang="ru-RU" sz="2800" b="1" dirty="0" smtClean="0">
                  <a:solidFill>
                    <a:srgbClr val="C00000"/>
                  </a:solidFill>
                  <a:cs typeface="Arial" pitchFamily="34" charset="0"/>
                </a:rPr>
                <a:t>.)</a:t>
              </a:r>
              <a:br>
                <a:rPr lang="ru-RU" sz="2800" b="1" dirty="0" smtClean="0">
                  <a:solidFill>
                    <a:srgbClr val="C00000"/>
                  </a:solidFill>
                  <a:cs typeface="Arial" pitchFamily="34" charset="0"/>
                </a:rPr>
              </a:br>
              <a:r>
                <a:rPr lang="ru-RU" sz="2800" b="1" dirty="0" err="1" smtClean="0">
                  <a:cs typeface="Arial" pitchFamily="34" charset="0"/>
                </a:rPr>
                <a:t>одн</a:t>
              </a:r>
              <a:r>
                <a:rPr lang="ru-RU" sz="2800" b="1" dirty="0">
                  <a:cs typeface="Arial" pitchFamily="34" charset="0"/>
                </a:rPr>
                <a:t>. травы - 13-15% </a:t>
              </a:r>
              <a:endParaRPr lang="ru-RU" sz="2800" b="1" dirty="0" smtClean="0">
                <a:cs typeface="Arial" pitchFamily="34" charset="0"/>
              </a:endParaRPr>
            </a:p>
            <a:p>
              <a:pPr algn="ctr"/>
              <a:r>
                <a:rPr lang="ru-RU" sz="2800" b="1" dirty="0" smtClean="0">
                  <a:cs typeface="Arial" pitchFamily="34" charset="0"/>
                </a:rPr>
                <a:t>кукуруза </a:t>
              </a:r>
              <a:r>
                <a:rPr lang="ru-RU" sz="2800" b="1" dirty="0">
                  <a:cs typeface="Arial" pitchFamily="34" charset="0"/>
                </a:rPr>
                <a:t>- </a:t>
              </a:r>
              <a:r>
                <a:rPr lang="ru-RU" sz="2800" b="1" dirty="0" smtClean="0">
                  <a:cs typeface="Arial" pitchFamily="34" charset="0"/>
                </a:rPr>
                <a:t>15-17% </a:t>
              </a:r>
              <a:endParaRPr lang="ru-RU" sz="2800" b="1" dirty="0">
                <a:cs typeface="Arial" pitchFamily="34" charset="0"/>
              </a:endParaRPr>
            </a:p>
          </p:txBody>
        </p:sp>
        <p:sp>
          <p:nvSpPr>
            <p:cNvPr id="21" name="AutoShape 8"/>
            <p:cNvSpPr>
              <a:spLocks noChangeArrowheads="1"/>
            </p:cNvSpPr>
            <p:nvPr/>
          </p:nvSpPr>
          <p:spPr bwMode="auto">
            <a:xfrm>
              <a:off x="5522454" y="2014243"/>
              <a:ext cx="299829" cy="200025"/>
            </a:xfrm>
            <a:prstGeom prst="homePlate">
              <a:avLst>
                <a:gd name="adj" fmla="val 92000"/>
              </a:avLst>
            </a:prstGeom>
            <a:solidFill>
              <a:srgbClr val="FFFFFF"/>
            </a:solidFill>
            <a:ln w="38100" algn="ctr">
              <a:solidFill>
                <a:srgbClr val="987A1A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pPr algn="ctr"/>
              <a:endParaRPr lang="ru-RU" sz="2000">
                <a:latin typeface="Calibr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51858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35709" y="832021"/>
            <a:ext cx="11322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ДУКТИВНОСТЬ КОРМОВОГО КЛИНА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7277591"/>
              </p:ext>
            </p:extLst>
          </p:nvPr>
        </p:nvGraphicFramePr>
        <p:xfrm>
          <a:off x="1069895" y="1366513"/>
          <a:ext cx="10380335" cy="5147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9598">
                  <a:extLst>
                    <a:ext uri="{9D8B030D-6E8A-4147-A177-3AD203B41FA5}">
                      <a16:colId xmlns="" xmlns:a16="http://schemas.microsoft.com/office/drawing/2014/main" val="3871126334"/>
                    </a:ext>
                  </a:extLst>
                </a:gridCol>
                <a:gridCol w="2110373">
                  <a:extLst>
                    <a:ext uri="{9D8B030D-6E8A-4147-A177-3AD203B41FA5}">
                      <a16:colId xmlns="" xmlns:a16="http://schemas.microsoft.com/office/drawing/2014/main" val="849342521"/>
                    </a:ext>
                  </a:extLst>
                </a:gridCol>
                <a:gridCol w="2281779">
                  <a:extLst>
                    <a:ext uri="{9D8B030D-6E8A-4147-A177-3AD203B41FA5}">
                      <a16:colId xmlns="" xmlns:a16="http://schemas.microsoft.com/office/drawing/2014/main" val="872726403"/>
                    </a:ext>
                  </a:extLst>
                </a:gridCol>
                <a:gridCol w="2658585">
                  <a:extLst>
                    <a:ext uri="{9D8B030D-6E8A-4147-A177-3AD203B41FA5}">
                      <a16:colId xmlns="" xmlns:a16="http://schemas.microsoft.com/office/drawing/2014/main" val="2939237089"/>
                    </a:ext>
                  </a:extLst>
                </a:gridCol>
              </a:tblGrid>
              <a:tr h="1325879"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овное поголовье, гол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ь кормового клина, </a:t>
                      </a:r>
                      <a:r>
                        <a:rPr lang="ru-RU" sz="16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а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ходится</a:t>
                      </a:r>
                      <a:r>
                        <a:rPr lang="ru-RU" sz="16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1 </a:t>
                      </a:r>
                      <a:r>
                        <a:rPr lang="ru-RU" sz="1600" b="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.гол</a:t>
                      </a:r>
                      <a:r>
                        <a:rPr lang="ru-RU" sz="16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, га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26766119"/>
                  </a:ext>
                </a:extLst>
              </a:tr>
              <a:tr h="424633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6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армановский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 458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,1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5349226"/>
                  </a:ext>
                </a:extLst>
              </a:tr>
              <a:tr h="424633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6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Атнинский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8 982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4,2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3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12344387"/>
                  </a:ext>
                </a:extLst>
              </a:tr>
              <a:tr h="424633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6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алтасинский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8 650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5,1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</a:tr>
              <a:tr h="424633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Алексеевский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6 557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,3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</a:tr>
              <a:tr h="424633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абинский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1 515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6,4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2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</a:tr>
              <a:tr h="424633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6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инский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1 093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,5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</a:tr>
              <a:tr h="424633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6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Алькеевский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 074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1,9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9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</a:tr>
              <a:tr h="424633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6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еленодольский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 970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2,0</a:t>
                      </a:r>
                      <a:endParaRPr lang="ru-RU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0,8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</a:tr>
              <a:tr h="424633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 </a:t>
                      </a:r>
                      <a:r>
                        <a:rPr lang="ru-RU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Т</a:t>
                      </a:r>
                    </a:p>
                  </a:txBody>
                  <a:tcPr marL="9525" marR="9525" marT="9525" marB="0" anchor="ctr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514 435</a:t>
                      </a:r>
                      <a:endParaRPr lang="ru-RU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74,6</a:t>
                      </a:r>
                      <a:endParaRPr lang="ru-RU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DEE1A1"/>
                    </a:solidFill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91476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35709" y="832021"/>
            <a:ext cx="11322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ДУКТИВНОСТЬ КОРМОВОГО КЛИНА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951115"/>
              </p:ext>
            </p:extLst>
          </p:nvPr>
        </p:nvGraphicFramePr>
        <p:xfrm>
          <a:off x="835709" y="1363922"/>
          <a:ext cx="10752574" cy="53460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56526">
                  <a:extLst>
                    <a:ext uri="{9D8B030D-6E8A-4147-A177-3AD203B41FA5}">
                      <a16:colId xmlns="" xmlns:a16="http://schemas.microsoft.com/office/drawing/2014/main" val="3871126334"/>
                    </a:ext>
                  </a:extLst>
                </a:gridCol>
                <a:gridCol w="2438141">
                  <a:extLst>
                    <a:ext uri="{9D8B030D-6E8A-4147-A177-3AD203B41FA5}">
                      <a16:colId xmlns="" xmlns:a16="http://schemas.microsoft.com/office/drawing/2014/main" val="849342521"/>
                    </a:ext>
                  </a:extLst>
                </a:gridCol>
                <a:gridCol w="2501747">
                  <a:extLst>
                    <a:ext uri="{9D8B030D-6E8A-4147-A177-3AD203B41FA5}">
                      <a16:colId xmlns="" xmlns:a16="http://schemas.microsoft.com/office/drawing/2014/main" val="872726403"/>
                    </a:ext>
                  </a:extLst>
                </a:gridCol>
                <a:gridCol w="2756160">
                  <a:extLst>
                    <a:ext uri="{9D8B030D-6E8A-4147-A177-3AD203B41FA5}">
                      <a16:colId xmlns="" xmlns:a16="http://schemas.microsoft.com/office/drawing/2014/main" val="2939237089"/>
                    </a:ext>
                  </a:extLst>
                </a:gridCol>
              </a:tblGrid>
              <a:tr h="713028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овное поголовье, гол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ь кормового клина, </a:t>
                      </a:r>
                      <a:r>
                        <a:rPr lang="ru-RU" sz="14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ходится</a:t>
                      </a:r>
                      <a:r>
                        <a:rPr lang="ru-RU" sz="14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1 </a:t>
                      </a:r>
                      <a:r>
                        <a:rPr lang="ru-RU" sz="1400" b="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.гол</a:t>
                      </a:r>
                      <a:r>
                        <a:rPr lang="ru-RU" sz="14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, г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26766119"/>
                  </a:ext>
                </a:extLst>
              </a:tr>
              <a:tr h="244983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етюш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 29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7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75497494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Лениногор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 35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,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0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рский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6 59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1,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йбиц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 18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,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пастов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 35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3,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,9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укаев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 7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,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юлячин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 408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8,9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. </a:t>
                      </a:r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лобод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 287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8,6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урлат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4 344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,6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ижнекамский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 266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6,3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пасский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4 733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,3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66614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Азнакаев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7 666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0,7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7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рожжанов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 346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6,8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Ютазинский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8 742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3,8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Буин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6 192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,6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6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78250343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укморский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 71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8,6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36474836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.Услон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 984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0,4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5349226"/>
                  </a:ext>
                </a:extLst>
              </a:tr>
              <a:tr h="24365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Актанышский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5 467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7,2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5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123443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амадыш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 145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9,2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,4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5451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35709" y="832021"/>
            <a:ext cx="11322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ОДУКТИВНОСТЬ КОРМОВОГО КЛИНА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8631887"/>
              </p:ext>
            </p:extLst>
          </p:nvPr>
        </p:nvGraphicFramePr>
        <p:xfrm>
          <a:off x="954860" y="1462871"/>
          <a:ext cx="10485537" cy="45495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80618">
                  <a:extLst>
                    <a:ext uri="{9D8B030D-6E8A-4147-A177-3AD203B41FA5}">
                      <a16:colId xmlns="" xmlns:a16="http://schemas.microsoft.com/office/drawing/2014/main" val="3871126334"/>
                    </a:ext>
                  </a:extLst>
                </a:gridCol>
                <a:gridCol w="2377591">
                  <a:extLst>
                    <a:ext uri="{9D8B030D-6E8A-4147-A177-3AD203B41FA5}">
                      <a16:colId xmlns="" xmlns:a16="http://schemas.microsoft.com/office/drawing/2014/main" val="849342521"/>
                    </a:ext>
                  </a:extLst>
                </a:gridCol>
                <a:gridCol w="2439616">
                  <a:extLst>
                    <a:ext uri="{9D8B030D-6E8A-4147-A177-3AD203B41FA5}">
                      <a16:colId xmlns="" xmlns:a16="http://schemas.microsoft.com/office/drawing/2014/main" val="872726403"/>
                    </a:ext>
                  </a:extLst>
                </a:gridCol>
                <a:gridCol w="2687712">
                  <a:extLst>
                    <a:ext uri="{9D8B030D-6E8A-4147-A177-3AD203B41FA5}">
                      <a16:colId xmlns="" xmlns:a16="http://schemas.microsoft.com/office/drawing/2014/main" val="2939237089"/>
                    </a:ext>
                  </a:extLst>
                </a:gridCol>
              </a:tblGrid>
              <a:tr h="733649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овное поголовье, гол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ь кормового клина, </a:t>
                      </a:r>
                      <a:r>
                        <a:rPr lang="ru-RU" sz="14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ходится</a:t>
                      </a:r>
                      <a:r>
                        <a:rPr lang="ru-RU" sz="14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1 </a:t>
                      </a:r>
                      <a:r>
                        <a:rPr lang="ru-RU" sz="1400" b="0" baseline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.гол</a:t>
                      </a:r>
                      <a:r>
                        <a:rPr lang="ru-RU" sz="14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, га</a:t>
                      </a:r>
                      <a:endParaRPr lang="ru-RU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26766119"/>
                  </a:ext>
                </a:extLst>
              </a:tr>
              <a:tr h="252068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угульмин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 92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,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,9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75497494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Агрыз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 70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7,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,0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Черемшан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 17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,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8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льметьевский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 03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,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Лаишев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 35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4,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Чистополь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 20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7,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7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стречин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 13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5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.Устьин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 59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,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4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74325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ензелин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 82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,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овошешмин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 18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8,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ксубаев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 22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5,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3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услюмовский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 06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,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78250343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Елабуж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 88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,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36474836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енделеевский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 00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,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2</a:t>
                      </a: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5349226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Бавлин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 18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7,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12344387"/>
                  </a:ext>
                </a:extLst>
              </a:tr>
              <a:tr h="234962">
                <a:tc>
                  <a:txBody>
                    <a:bodyPr/>
                    <a:lstStyle/>
                    <a:p>
                      <a:pPr marL="7200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.Горски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 83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2,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,1</a:t>
                      </a:r>
                    </a:p>
                  </a:txBody>
                  <a:tcPr marL="9525" marR="9525" marT="9525" marB="0" anchor="ctr">
                    <a:solidFill>
                      <a:srgbClr val="C2CEB3"/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954860" y="6101395"/>
            <a:ext cx="105358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ребуется серьезная работа по уменьшению неиспользуемых площадей</a:t>
            </a:r>
            <a:endParaRPr lang="ru-RU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5451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35709" y="832021"/>
            <a:ext cx="113224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ЛОЩАДИ МНОГОЛЕТНИХ ТРАВ К РАСПАШКЕ (5 И БОЛЕЕ ЛЕТ)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7525971"/>
              </p:ext>
            </p:extLst>
          </p:nvPr>
        </p:nvGraphicFramePr>
        <p:xfrm>
          <a:off x="835709" y="1431250"/>
          <a:ext cx="5081799" cy="53013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50567">
                  <a:extLst>
                    <a:ext uri="{9D8B030D-6E8A-4147-A177-3AD203B41FA5}">
                      <a16:colId xmlns="" xmlns:a16="http://schemas.microsoft.com/office/drawing/2014/main" val="3871126334"/>
                    </a:ext>
                  </a:extLst>
                </a:gridCol>
                <a:gridCol w="1931232">
                  <a:extLst>
                    <a:ext uri="{9D8B030D-6E8A-4147-A177-3AD203B41FA5}">
                      <a16:colId xmlns="" xmlns:a16="http://schemas.microsoft.com/office/drawing/2014/main" val="849342521"/>
                    </a:ext>
                  </a:extLst>
                </a:gridCol>
              </a:tblGrid>
              <a:tr h="1097229"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а</a:t>
                      </a:r>
                      <a:endParaRPr lang="ru-RU" sz="16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26766119"/>
                  </a:ext>
                </a:extLst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Кам.Устьинский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4,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Апасто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3,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Актаныш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3,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78250343"/>
                  </a:ext>
                </a:extLst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Пестреч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3,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36474836"/>
                  </a:ext>
                </a:extLst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Тукаев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3,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5349226"/>
                  </a:ext>
                </a:extLst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Азнакае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3,1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12344387"/>
                  </a:ext>
                </a:extLst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Лаише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2,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Бу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2,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Чистополь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2,5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В.Услонский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2,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Агрыз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2,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35034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По РТ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8,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anchor="ctr">
                    <a:solidFill>
                      <a:srgbClr val="DEE1A1"/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923370" y="1391202"/>
            <a:ext cx="6234763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чальникам Управлений:</a:t>
            </a:r>
          </a:p>
          <a:p>
            <a:pPr marL="342900" indent="-342900">
              <a:buFontTx/>
              <a:buChar char="-"/>
            </a:pPr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едставить календарный план распашки </a:t>
            </a:r>
            <a:b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о 10 августа </a:t>
            </a:r>
            <a:r>
              <a:rPr lang="ru-RU" sz="2000" b="1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.г</a:t>
            </a:r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;</a:t>
            </a:r>
          </a:p>
          <a:p>
            <a:pPr marL="342900" indent="-342900">
              <a:buFontTx/>
              <a:buChar char="-"/>
            </a:pPr>
            <a:r>
              <a:rPr lang="ru-RU" sz="2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женедельно информировать о выполнении плана</a:t>
            </a:r>
            <a:endParaRPr lang="ru-RU" sz="20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0205"/>
          <a:stretch/>
        </p:blipFill>
        <p:spPr>
          <a:xfrm>
            <a:off x="6101395" y="3091157"/>
            <a:ext cx="5785805" cy="3503851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1709400" y="6621641"/>
            <a:ext cx="288263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59661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806824" y="867216"/>
            <a:ext cx="113851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ВОД В ОБОРОТ НЕИСПОЛЬЗУЕМЫХ ЗЕМЕЛЬ ЗА СЧЕТ ПРОВЕДЕНИЯ КУЛЬТУРТЕХНИЧЕСКИХ МЕРОПРИЯТИЙ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06821" y="2046081"/>
            <a:ext cx="1110613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становлением Кабинета Министров РТ от 17.01.2018 № 17 предусмотрена государственная поддержка на проведение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ультуртехнических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мероприятий, в том числе: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счистка земель от древесн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астительности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кочек, пней и мха, а также от камней и иных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метов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3982" y="3831185"/>
            <a:ext cx="4635462" cy="2669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34"/>
          <a:stretch/>
        </p:blipFill>
        <p:spPr bwMode="auto">
          <a:xfrm>
            <a:off x="1564329" y="3831185"/>
            <a:ext cx="4278121" cy="267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0766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695459" y="1758545"/>
            <a:ext cx="9864647" cy="321108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695459" y="1758545"/>
            <a:ext cx="11281893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убсидия предоставляется из расчета 70 % стоимости выполненных работ без учета НДС. </a:t>
            </a:r>
          </a:p>
          <a:p>
            <a:pPr>
              <a:spcBef>
                <a:spcPts val="1200"/>
              </a:spcBef>
            </a:pPr>
            <a:r>
              <a:rPr lang="ru-RU" b="1" u="sng" dirty="0">
                <a:latin typeface="Arial" panose="020B0604020202020204" pitchFamily="34" charset="0"/>
                <a:cs typeface="Arial" panose="020B0604020202020204" pitchFamily="34" charset="0"/>
              </a:rPr>
              <a:t>Необходимые документы:</a:t>
            </a:r>
          </a:p>
          <a:p>
            <a:pPr>
              <a:spcBef>
                <a:spcPts val="12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аключение ФГБУ «Управление Татмелиоводхоз» о возможности ввода в оборот ранее не используемых земель;</a:t>
            </a:r>
          </a:p>
          <a:p>
            <a:pPr>
              <a:spcBef>
                <a:spcPts val="12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пии документов, подтверждающих право собственности (пользования, аренды) на земельные участки;</a:t>
            </a:r>
          </a:p>
          <a:p>
            <a:pPr>
              <a:spcBef>
                <a:spcPts val="12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пии подтвержденных Комиссией актов о фактическом состоянии и целесообразности проведения мероприятий; </a:t>
            </a:r>
          </a:p>
          <a:p>
            <a:pPr>
              <a:spcBef>
                <a:spcPts val="12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пии подтвержденной Комиссией технологической карты с указание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идов, объемов и стоимост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работ;</a:t>
            </a:r>
          </a:p>
          <a:p>
            <a:pPr>
              <a:spcBef>
                <a:spcPts val="12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пии подтвержденных Комиссией актов приемки выполненных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культуртехнических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мероприятий;</a:t>
            </a:r>
          </a:p>
          <a:p>
            <a:pPr>
              <a:spcBef>
                <a:spcPts val="12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анорамные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фотофиксации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spcBef>
                <a:spcPts val="12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пии первичных документов, подтверждающих произведенные затраты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6824" y="867216"/>
            <a:ext cx="113851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УСЛОВИЯ ПРЕДОСТАВЛЕНИЯ СУБСИДИИ ЗА ПРОВЕДЕНИЕ КУЛЬТУРТЕХНИЧЕСКИХ МЕРОПРИЯТИЙ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772596" y="6576552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9331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806824" y="867216"/>
            <a:ext cx="113851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РЕДСТАВЛЕНИЕ ИНФОРМАЦИИ О ПЛОЩАДЯХ К ВВОДУ В ОБОРОТ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78032" y="1821323"/>
            <a:ext cx="111061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инистерство сельского хозяйства и продовольствия Республики Татарстан просит в срок до 10.08.2020 представить информацию о площадях сельскохозяйственных угодий, планируемых вводить в оборот с 2021 года, в разрезе хозяйств муниципального района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3442335"/>
              </p:ext>
            </p:extLst>
          </p:nvPr>
        </p:nvGraphicFramePr>
        <p:xfrm>
          <a:off x="806824" y="2716128"/>
          <a:ext cx="10822800" cy="35897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0041"/>
                <a:gridCol w="1768611"/>
                <a:gridCol w="1725769"/>
                <a:gridCol w="1519707"/>
                <a:gridCol w="1396246"/>
                <a:gridCol w="1601562"/>
                <a:gridCol w="2140864"/>
              </a:tblGrid>
              <a:tr h="325606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 площадях сельскохозяйственных угодий, планируемых вводить в оборот с 2021 год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5606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___________________________ муниципальному району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5606">
                <a:tc>
                  <a:txBody>
                    <a:bodyPr/>
                    <a:lstStyle/>
                    <a:p>
                      <a:pPr algn="l" fontAlgn="b"/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768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хозяйств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дастровый номер участка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бственник/ арендатор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ь, га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 ввода в оборот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оимость работ согласно технологической карте, тыс. руб.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560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560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560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560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25606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19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4012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806824" y="1044861"/>
            <a:ext cx="113851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ЧВЕННАЯ БИОТА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874124" y="2182316"/>
            <a:ext cx="5922914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Живая фаза почвы (почвенная </a:t>
            </a:r>
            <a:r>
              <a:rPr lang="ru-RU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иота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) – это населяющие почву организмы. </a:t>
            </a:r>
            <a:b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 ним относятся микроорганизмы, бактерии, грибы, водоросли, представители почвенной микрофауны, простейшие, насекомые, дождевые черви и др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2" descr="C:\Users\Agronom_01\Desktop\биота\424234_158771344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824" y="1643868"/>
            <a:ext cx="5067300" cy="460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739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601133" y="865196"/>
            <a:ext cx="115908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4800" b="1" spc="50">
                <a:ln w="11430"/>
                <a:solidFill>
                  <a:srgbClr val="008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2400" b="0" dirty="0" smtClean="0">
                <a:solidFill>
                  <a:schemeClr val="accent6">
                    <a:lumMod val="50000"/>
                  </a:schemeClr>
                </a:solidFill>
                <a:effectLst/>
              </a:rPr>
              <a:t>ДАННЫЕ ФИЛИАЛА ФГБУ «РОССЕЛЬХОЗЦЕНТР» ПО РТ </a:t>
            </a:r>
            <a:br>
              <a:rPr lang="ru-RU" sz="2400" b="0" dirty="0" smtClean="0">
                <a:solidFill>
                  <a:schemeClr val="accent6">
                    <a:lumMod val="50000"/>
                  </a:schemeClr>
                </a:solidFill>
                <a:effectLst/>
              </a:rPr>
            </a:br>
            <a:r>
              <a:rPr lang="ru-RU" sz="2400" b="0" dirty="0" smtClean="0">
                <a:solidFill>
                  <a:schemeClr val="accent6">
                    <a:lumMod val="50000"/>
                  </a:schemeClr>
                </a:solidFill>
                <a:effectLst/>
              </a:rPr>
              <a:t>О ПЛОЩАДЯХ ЗАСОРЕНИЯ БОРЩЕВИКОМ СОСНОВСКОГО В 2019 Г.</a:t>
            </a:r>
            <a:endParaRPr lang="ru-RU" sz="2400" b="0" dirty="0">
              <a:solidFill>
                <a:schemeClr val="accent6">
                  <a:lumMod val="50000"/>
                </a:schemeClr>
              </a:solidFill>
              <a:effectLst/>
            </a:endParaRPr>
          </a:p>
        </p:txBody>
      </p:sp>
      <p:grpSp>
        <p:nvGrpSpPr>
          <p:cNvPr id="109" name="Группа 108"/>
          <p:cNvGrpSpPr/>
          <p:nvPr/>
        </p:nvGrpSpPr>
        <p:grpSpPr>
          <a:xfrm>
            <a:off x="446809" y="1819304"/>
            <a:ext cx="11440391" cy="4581496"/>
            <a:chOff x="-165607" y="1053432"/>
            <a:chExt cx="9534309" cy="5579780"/>
          </a:xfrm>
        </p:grpSpPr>
        <p:sp>
          <p:nvSpPr>
            <p:cNvPr id="110" name="Freeform 17"/>
            <p:cNvSpPr>
              <a:spLocks/>
            </p:cNvSpPr>
            <p:nvPr/>
          </p:nvSpPr>
          <p:spPr bwMode="auto">
            <a:xfrm>
              <a:off x="7180466" y="4603230"/>
              <a:ext cx="260354" cy="123226"/>
            </a:xfrm>
            <a:custGeom>
              <a:avLst/>
              <a:gdLst>
                <a:gd name="T0" fmla="*/ 2147483647 w 194"/>
                <a:gd name="T1" fmla="*/ 2147483647 h 101"/>
                <a:gd name="T2" fmla="*/ 2147483647 w 194"/>
                <a:gd name="T3" fmla="*/ 2147483647 h 101"/>
                <a:gd name="T4" fmla="*/ 2147483647 w 194"/>
                <a:gd name="T5" fmla="*/ 2147483647 h 101"/>
                <a:gd name="T6" fmla="*/ 2147483647 w 194"/>
                <a:gd name="T7" fmla="*/ 2147483647 h 101"/>
                <a:gd name="T8" fmla="*/ 0 w 194"/>
                <a:gd name="T9" fmla="*/ 2147483647 h 101"/>
                <a:gd name="T10" fmla="*/ 0 w 194"/>
                <a:gd name="T11" fmla="*/ 2147483647 h 101"/>
                <a:gd name="T12" fmla="*/ 0 w 194"/>
                <a:gd name="T13" fmla="*/ 2147483647 h 101"/>
                <a:gd name="T14" fmla="*/ 2147483647 w 194"/>
                <a:gd name="T15" fmla="*/ 2147483647 h 101"/>
                <a:gd name="T16" fmla="*/ 2147483647 w 194"/>
                <a:gd name="T17" fmla="*/ 2147483647 h 101"/>
                <a:gd name="T18" fmla="*/ 2147483647 w 194"/>
                <a:gd name="T19" fmla="*/ 2147483647 h 101"/>
                <a:gd name="T20" fmla="*/ 2147483647 w 194"/>
                <a:gd name="T21" fmla="*/ 2147483647 h 101"/>
                <a:gd name="T22" fmla="*/ 2147483647 w 194"/>
                <a:gd name="T23" fmla="*/ 2147483647 h 101"/>
                <a:gd name="T24" fmla="*/ 2147483647 w 194"/>
                <a:gd name="T25" fmla="*/ 0 h 101"/>
                <a:gd name="T26" fmla="*/ 2147483647 w 194"/>
                <a:gd name="T27" fmla="*/ 0 h 101"/>
                <a:gd name="T28" fmla="*/ 2147483647 w 194"/>
                <a:gd name="T29" fmla="*/ 0 h 101"/>
                <a:gd name="T30" fmla="*/ 2147483647 w 194"/>
                <a:gd name="T31" fmla="*/ 2147483647 h 101"/>
                <a:gd name="T32" fmla="*/ 2147483647 w 194"/>
                <a:gd name="T33" fmla="*/ 2147483647 h 101"/>
                <a:gd name="T34" fmla="*/ 2147483647 w 194"/>
                <a:gd name="T35" fmla="*/ 2147483647 h 101"/>
                <a:gd name="T36" fmla="*/ 2147483647 w 194"/>
                <a:gd name="T37" fmla="*/ 2147483647 h 101"/>
                <a:gd name="T38" fmla="*/ 2147483647 w 194"/>
                <a:gd name="T39" fmla="*/ 2147483647 h 101"/>
                <a:gd name="T40" fmla="*/ 2147483647 w 194"/>
                <a:gd name="T41" fmla="*/ 2147483647 h 101"/>
                <a:gd name="T42" fmla="*/ 2147483647 w 194"/>
                <a:gd name="T43" fmla="*/ 2147483647 h 101"/>
                <a:gd name="T44" fmla="*/ 2147483647 w 194"/>
                <a:gd name="T45" fmla="*/ 2147483647 h 101"/>
                <a:gd name="T46" fmla="*/ 2147483647 w 194"/>
                <a:gd name="T47" fmla="*/ 2147483647 h 101"/>
                <a:gd name="T48" fmla="*/ 2147483647 w 194"/>
                <a:gd name="T49" fmla="*/ 2147483647 h 101"/>
                <a:gd name="T50" fmla="*/ 2147483647 w 194"/>
                <a:gd name="T51" fmla="*/ 2147483647 h 101"/>
                <a:gd name="T52" fmla="*/ 2147483647 w 194"/>
                <a:gd name="T53" fmla="*/ 2147483647 h 10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94"/>
                <a:gd name="T82" fmla="*/ 0 h 101"/>
                <a:gd name="T83" fmla="*/ 194 w 194"/>
                <a:gd name="T84" fmla="*/ 101 h 10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94" h="101">
                  <a:moveTo>
                    <a:pt x="73" y="101"/>
                  </a:moveTo>
                  <a:lnTo>
                    <a:pt x="32" y="81"/>
                  </a:lnTo>
                  <a:lnTo>
                    <a:pt x="20" y="73"/>
                  </a:lnTo>
                  <a:lnTo>
                    <a:pt x="8" y="73"/>
                  </a:lnTo>
                  <a:lnTo>
                    <a:pt x="0" y="65"/>
                  </a:lnTo>
                  <a:lnTo>
                    <a:pt x="0" y="61"/>
                  </a:lnTo>
                  <a:lnTo>
                    <a:pt x="0" y="53"/>
                  </a:lnTo>
                  <a:lnTo>
                    <a:pt x="24" y="41"/>
                  </a:lnTo>
                  <a:lnTo>
                    <a:pt x="40" y="24"/>
                  </a:lnTo>
                  <a:lnTo>
                    <a:pt x="52" y="24"/>
                  </a:lnTo>
                  <a:lnTo>
                    <a:pt x="60" y="24"/>
                  </a:lnTo>
                  <a:lnTo>
                    <a:pt x="73" y="8"/>
                  </a:lnTo>
                  <a:lnTo>
                    <a:pt x="81" y="0"/>
                  </a:lnTo>
                  <a:lnTo>
                    <a:pt x="93" y="0"/>
                  </a:lnTo>
                  <a:lnTo>
                    <a:pt x="113" y="0"/>
                  </a:lnTo>
                  <a:lnTo>
                    <a:pt x="125" y="4"/>
                  </a:lnTo>
                  <a:lnTo>
                    <a:pt x="137" y="8"/>
                  </a:lnTo>
                  <a:lnTo>
                    <a:pt x="161" y="24"/>
                  </a:lnTo>
                  <a:lnTo>
                    <a:pt x="173" y="41"/>
                  </a:lnTo>
                  <a:lnTo>
                    <a:pt x="186" y="41"/>
                  </a:lnTo>
                  <a:lnTo>
                    <a:pt x="194" y="45"/>
                  </a:lnTo>
                  <a:lnTo>
                    <a:pt x="161" y="77"/>
                  </a:lnTo>
                  <a:lnTo>
                    <a:pt x="125" y="97"/>
                  </a:lnTo>
                  <a:lnTo>
                    <a:pt x="121" y="97"/>
                  </a:lnTo>
                  <a:lnTo>
                    <a:pt x="113" y="101"/>
                  </a:lnTo>
                  <a:lnTo>
                    <a:pt x="93" y="101"/>
                  </a:lnTo>
                  <a:lnTo>
                    <a:pt x="73" y="101"/>
                  </a:lnTo>
                  <a:close/>
                </a:path>
              </a:pathLst>
            </a:custGeom>
            <a:solidFill>
              <a:srgbClr val="00CCFF"/>
            </a:solidFill>
            <a:ln w="38100">
              <a:solidFill>
                <a:srgbClr val="00CCFF"/>
              </a:solidFill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11" name="Freeform 19"/>
            <p:cNvSpPr>
              <a:spLocks/>
            </p:cNvSpPr>
            <p:nvPr/>
          </p:nvSpPr>
          <p:spPr bwMode="auto">
            <a:xfrm>
              <a:off x="270449" y="4679434"/>
              <a:ext cx="1001712" cy="818803"/>
            </a:xfrm>
            <a:custGeom>
              <a:avLst/>
              <a:gdLst>
                <a:gd name="T0" fmla="*/ 453605953 w 1114"/>
                <a:gd name="T1" fmla="*/ 447250397 h 920"/>
                <a:gd name="T2" fmla="*/ 469777227 w 1114"/>
                <a:gd name="T3" fmla="*/ 419913715 h 920"/>
                <a:gd name="T4" fmla="*/ 485948612 w 1114"/>
                <a:gd name="T5" fmla="*/ 370556761 h 920"/>
                <a:gd name="T6" fmla="*/ 492417482 w 1114"/>
                <a:gd name="T7" fmla="*/ 321959667 h 920"/>
                <a:gd name="T8" fmla="*/ 525568412 w 1114"/>
                <a:gd name="T9" fmla="*/ 287789468 h 920"/>
                <a:gd name="T10" fmla="*/ 596722376 w 1114"/>
                <a:gd name="T11" fmla="*/ 306772912 h 920"/>
                <a:gd name="T12" fmla="*/ 639576610 w 1114"/>
                <a:gd name="T13" fmla="*/ 334108723 h 920"/>
                <a:gd name="T14" fmla="*/ 616936467 w 1114"/>
                <a:gd name="T15" fmla="*/ 364482233 h 920"/>
                <a:gd name="T16" fmla="*/ 590254406 w 1114"/>
                <a:gd name="T17" fmla="*/ 413839187 h 920"/>
                <a:gd name="T18" fmla="*/ 610468498 w 1114"/>
                <a:gd name="T19" fmla="*/ 468511789 h 920"/>
                <a:gd name="T20" fmla="*/ 658982318 w 1114"/>
                <a:gd name="T21" fmla="*/ 459399562 h 920"/>
                <a:gd name="T22" fmla="*/ 691324865 w 1114"/>
                <a:gd name="T23" fmla="*/ 471548617 h 920"/>
                <a:gd name="T24" fmla="*/ 721242261 w 1114"/>
                <a:gd name="T25" fmla="*/ 484457533 h 920"/>
                <a:gd name="T26" fmla="*/ 721242261 w 1114"/>
                <a:gd name="T27" fmla="*/ 438138170 h 920"/>
                <a:gd name="T28" fmla="*/ 724475796 w 1114"/>
                <a:gd name="T29" fmla="*/ 373594460 h 920"/>
                <a:gd name="T30" fmla="*/ 747115939 w 1114"/>
                <a:gd name="T31" fmla="*/ 324996495 h 920"/>
                <a:gd name="T32" fmla="*/ 789161789 w 1114"/>
                <a:gd name="T33" fmla="*/ 334108723 h 920"/>
                <a:gd name="T34" fmla="*/ 832016024 w 1114"/>
                <a:gd name="T35" fmla="*/ 334108723 h 920"/>
                <a:gd name="T36" fmla="*/ 867593005 w 1114"/>
                <a:gd name="T37" fmla="*/ 352333177 h 920"/>
                <a:gd name="T38" fmla="*/ 900743936 w 1114"/>
                <a:gd name="T39" fmla="*/ 306772912 h 920"/>
                <a:gd name="T40" fmla="*/ 883764279 w 1114"/>
                <a:gd name="T41" fmla="*/ 269565013 h 920"/>
                <a:gd name="T42" fmla="*/ 838483994 w 1114"/>
                <a:gd name="T43" fmla="*/ 198946721 h 920"/>
                <a:gd name="T44" fmla="*/ 799672578 w 1114"/>
                <a:gd name="T45" fmla="*/ 208058949 h 920"/>
                <a:gd name="T46" fmla="*/ 724475796 w 1114"/>
                <a:gd name="T47" fmla="*/ 186796794 h 920"/>
                <a:gd name="T48" fmla="*/ 681622461 w 1114"/>
                <a:gd name="T49" fmla="*/ 162498683 h 920"/>
                <a:gd name="T50" fmla="*/ 633107741 w 1114"/>
                <a:gd name="T51" fmla="*/ 183759966 h 920"/>
                <a:gd name="T52" fmla="*/ 548208555 w 1114"/>
                <a:gd name="T53" fmla="*/ 177685439 h 920"/>
                <a:gd name="T54" fmla="*/ 557911859 w 1114"/>
                <a:gd name="T55" fmla="*/ 141236529 h 920"/>
                <a:gd name="T56" fmla="*/ 548208555 w 1114"/>
                <a:gd name="T57" fmla="*/ 94917247 h 920"/>
                <a:gd name="T58" fmla="*/ 528802847 w 1114"/>
                <a:gd name="T59" fmla="*/ 24298989 h 920"/>
                <a:gd name="T60" fmla="*/ 508588755 w 1114"/>
                <a:gd name="T61" fmla="*/ 30373524 h 920"/>
                <a:gd name="T62" fmla="*/ 528802847 w 1114"/>
                <a:gd name="T63" fmla="*/ 85805020 h 920"/>
                <a:gd name="T64" fmla="*/ 535271716 w 1114"/>
                <a:gd name="T65" fmla="*/ 125290785 h 920"/>
                <a:gd name="T66" fmla="*/ 512631573 w 1114"/>
                <a:gd name="T67" fmla="*/ 153386456 h 920"/>
                <a:gd name="T68" fmla="*/ 479480643 w 1114"/>
                <a:gd name="T69" fmla="*/ 119216257 h 920"/>
                <a:gd name="T70" fmla="*/ 434200245 w 1114"/>
                <a:gd name="T71" fmla="*/ 88842719 h 920"/>
                <a:gd name="T72" fmla="*/ 388112475 w 1114"/>
                <a:gd name="T73" fmla="*/ 113141702 h 920"/>
                <a:gd name="T74" fmla="*/ 316150128 w 1114"/>
                <a:gd name="T75" fmla="*/ 104029474 h 920"/>
                <a:gd name="T76" fmla="*/ 225590401 w 1114"/>
                <a:gd name="T77" fmla="*/ 85805020 h 920"/>
                <a:gd name="T78" fmla="*/ 189205035 w 1114"/>
                <a:gd name="T79" fmla="*/ 43282440 h 920"/>
                <a:gd name="T80" fmla="*/ 153628054 w 1114"/>
                <a:gd name="T81" fmla="*/ 46319268 h 920"/>
                <a:gd name="T82" fmla="*/ 173033762 w 1114"/>
                <a:gd name="T83" fmla="*/ 113141702 h 920"/>
                <a:gd name="T84" fmla="*/ 94602518 w 1114"/>
                <a:gd name="T85" fmla="*/ 132125173 h 920"/>
                <a:gd name="T86" fmla="*/ 104304922 w 1114"/>
                <a:gd name="T87" fmla="*/ 180722267 h 920"/>
                <a:gd name="T88" fmla="*/ 114008226 w 1114"/>
                <a:gd name="T89" fmla="*/ 242229202 h 920"/>
                <a:gd name="T90" fmla="*/ 52556653 w 1114"/>
                <a:gd name="T91" fmla="*/ 275639541 h 920"/>
                <a:gd name="T92" fmla="*/ 0 w 1114"/>
                <a:gd name="T93" fmla="*/ 306772912 h 920"/>
                <a:gd name="T94" fmla="*/ 12936842 w 1114"/>
                <a:gd name="T95" fmla="*/ 349295478 h 920"/>
                <a:gd name="T96" fmla="*/ 46088683 w 1114"/>
                <a:gd name="T97" fmla="*/ 340183250 h 920"/>
                <a:gd name="T98" fmla="*/ 104304922 w 1114"/>
                <a:gd name="T99" fmla="*/ 315884268 h 920"/>
                <a:gd name="T100" fmla="*/ 120476224 w 1114"/>
                <a:gd name="T101" fmla="*/ 361444533 h 920"/>
                <a:gd name="T102" fmla="*/ 143924750 w 1114"/>
                <a:gd name="T103" fmla="*/ 425988243 h 920"/>
                <a:gd name="T104" fmla="*/ 101070488 w 1114"/>
                <a:gd name="T105" fmla="*/ 465474090 h 920"/>
                <a:gd name="T106" fmla="*/ 68727941 w 1114"/>
                <a:gd name="T107" fmla="*/ 514831044 h 920"/>
                <a:gd name="T108" fmla="*/ 88133649 w 1114"/>
                <a:gd name="T109" fmla="*/ 573300226 h 920"/>
                <a:gd name="T110" fmla="*/ 88133649 w 1114"/>
                <a:gd name="T111" fmla="*/ 627972718 h 920"/>
                <a:gd name="T112" fmla="*/ 114008226 w 1114"/>
                <a:gd name="T113" fmla="*/ 698590956 h 920"/>
                <a:gd name="T114" fmla="*/ 156862488 w 1114"/>
                <a:gd name="T115" fmla="*/ 606711435 h 920"/>
                <a:gd name="T116" fmla="*/ 189205035 w 1114"/>
                <a:gd name="T117" fmla="*/ 582412453 h 920"/>
                <a:gd name="T118" fmla="*/ 235292805 w 1114"/>
                <a:gd name="T119" fmla="*/ 600636036 h 920"/>
                <a:gd name="T120" fmla="*/ 336364220 w 1114"/>
                <a:gd name="T121" fmla="*/ 612785963 h 920"/>
                <a:gd name="T122" fmla="*/ 381643606 w 1114"/>
                <a:gd name="T123" fmla="*/ 545204554 h 920"/>
                <a:gd name="T124" fmla="*/ 421263406 w 1114"/>
                <a:gd name="T125" fmla="*/ 471548617 h 9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14"/>
                <a:gd name="T190" fmla="*/ 0 h 920"/>
                <a:gd name="T191" fmla="*/ 1114 w 1114"/>
                <a:gd name="T192" fmla="*/ 920 h 9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14" h="920">
                  <a:moveTo>
                    <a:pt x="521" y="621"/>
                  </a:moveTo>
                  <a:lnTo>
                    <a:pt x="533" y="617"/>
                  </a:lnTo>
                  <a:lnTo>
                    <a:pt x="541" y="613"/>
                  </a:lnTo>
                  <a:lnTo>
                    <a:pt x="545" y="605"/>
                  </a:lnTo>
                  <a:lnTo>
                    <a:pt x="561" y="589"/>
                  </a:lnTo>
                  <a:lnTo>
                    <a:pt x="565" y="585"/>
                  </a:lnTo>
                  <a:lnTo>
                    <a:pt x="573" y="581"/>
                  </a:lnTo>
                  <a:lnTo>
                    <a:pt x="573" y="573"/>
                  </a:lnTo>
                  <a:lnTo>
                    <a:pt x="577" y="565"/>
                  </a:lnTo>
                  <a:lnTo>
                    <a:pt x="581" y="553"/>
                  </a:lnTo>
                  <a:lnTo>
                    <a:pt x="585" y="541"/>
                  </a:lnTo>
                  <a:lnTo>
                    <a:pt x="593" y="529"/>
                  </a:lnTo>
                  <a:lnTo>
                    <a:pt x="593" y="512"/>
                  </a:lnTo>
                  <a:lnTo>
                    <a:pt x="597" y="500"/>
                  </a:lnTo>
                  <a:lnTo>
                    <a:pt x="601" y="488"/>
                  </a:lnTo>
                  <a:lnTo>
                    <a:pt x="601" y="480"/>
                  </a:lnTo>
                  <a:lnTo>
                    <a:pt x="601" y="464"/>
                  </a:lnTo>
                  <a:lnTo>
                    <a:pt x="609" y="460"/>
                  </a:lnTo>
                  <a:lnTo>
                    <a:pt x="613" y="456"/>
                  </a:lnTo>
                  <a:lnTo>
                    <a:pt x="609" y="424"/>
                  </a:lnTo>
                  <a:lnTo>
                    <a:pt x="609" y="391"/>
                  </a:lnTo>
                  <a:lnTo>
                    <a:pt x="621" y="383"/>
                  </a:lnTo>
                  <a:lnTo>
                    <a:pt x="629" y="379"/>
                  </a:lnTo>
                  <a:lnTo>
                    <a:pt x="638" y="379"/>
                  </a:lnTo>
                  <a:lnTo>
                    <a:pt x="650" y="379"/>
                  </a:lnTo>
                  <a:lnTo>
                    <a:pt x="654" y="379"/>
                  </a:lnTo>
                  <a:lnTo>
                    <a:pt x="658" y="383"/>
                  </a:lnTo>
                  <a:lnTo>
                    <a:pt x="686" y="387"/>
                  </a:lnTo>
                  <a:lnTo>
                    <a:pt x="718" y="391"/>
                  </a:lnTo>
                  <a:lnTo>
                    <a:pt x="738" y="404"/>
                  </a:lnTo>
                  <a:lnTo>
                    <a:pt x="779" y="412"/>
                  </a:lnTo>
                  <a:lnTo>
                    <a:pt x="779" y="416"/>
                  </a:lnTo>
                  <a:lnTo>
                    <a:pt x="783" y="420"/>
                  </a:lnTo>
                  <a:lnTo>
                    <a:pt x="783" y="428"/>
                  </a:lnTo>
                  <a:lnTo>
                    <a:pt x="791" y="440"/>
                  </a:lnTo>
                  <a:lnTo>
                    <a:pt x="779" y="452"/>
                  </a:lnTo>
                  <a:lnTo>
                    <a:pt x="771" y="460"/>
                  </a:lnTo>
                  <a:lnTo>
                    <a:pt x="771" y="464"/>
                  </a:lnTo>
                  <a:lnTo>
                    <a:pt x="767" y="468"/>
                  </a:lnTo>
                  <a:lnTo>
                    <a:pt x="763" y="480"/>
                  </a:lnTo>
                  <a:lnTo>
                    <a:pt x="755" y="480"/>
                  </a:lnTo>
                  <a:lnTo>
                    <a:pt x="738" y="500"/>
                  </a:lnTo>
                  <a:lnTo>
                    <a:pt x="730" y="516"/>
                  </a:lnTo>
                  <a:lnTo>
                    <a:pt x="730" y="533"/>
                  </a:lnTo>
                  <a:lnTo>
                    <a:pt x="730" y="545"/>
                  </a:lnTo>
                  <a:lnTo>
                    <a:pt x="734" y="561"/>
                  </a:lnTo>
                  <a:lnTo>
                    <a:pt x="738" y="573"/>
                  </a:lnTo>
                  <a:lnTo>
                    <a:pt x="742" y="593"/>
                  </a:lnTo>
                  <a:lnTo>
                    <a:pt x="751" y="613"/>
                  </a:lnTo>
                  <a:lnTo>
                    <a:pt x="755" y="617"/>
                  </a:lnTo>
                  <a:lnTo>
                    <a:pt x="759" y="621"/>
                  </a:lnTo>
                  <a:lnTo>
                    <a:pt x="767" y="621"/>
                  </a:lnTo>
                  <a:lnTo>
                    <a:pt x="775" y="621"/>
                  </a:lnTo>
                  <a:lnTo>
                    <a:pt x="803" y="609"/>
                  </a:lnTo>
                  <a:lnTo>
                    <a:pt x="815" y="605"/>
                  </a:lnTo>
                  <a:lnTo>
                    <a:pt x="827" y="605"/>
                  </a:lnTo>
                  <a:lnTo>
                    <a:pt x="839" y="609"/>
                  </a:lnTo>
                  <a:lnTo>
                    <a:pt x="843" y="609"/>
                  </a:lnTo>
                  <a:lnTo>
                    <a:pt x="847" y="613"/>
                  </a:lnTo>
                  <a:lnTo>
                    <a:pt x="855" y="621"/>
                  </a:lnTo>
                  <a:lnTo>
                    <a:pt x="855" y="629"/>
                  </a:lnTo>
                  <a:lnTo>
                    <a:pt x="859" y="629"/>
                  </a:lnTo>
                  <a:lnTo>
                    <a:pt x="868" y="633"/>
                  </a:lnTo>
                  <a:lnTo>
                    <a:pt x="880" y="633"/>
                  </a:lnTo>
                  <a:lnTo>
                    <a:pt x="892" y="638"/>
                  </a:lnTo>
                  <a:lnTo>
                    <a:pt x="900" y="625"/>
                  </a:lnTo>
                  <a:lnTo>
                    <a:pt x="908" y="617"/>
                  </a:lnTo>
                  <a:lnTo>
                    <a:pt x="908" y="609"/>
                  </a:lnTo>
                  <a:lnTo>
                    <a:pt x="908" y="597"/>
                  </a:lnTo>
                  <a:lnTo>
                    <a:pt x="892" y="577"/>
                  </a:lnTo>
                  <a:lnTo>
                    <a:pt x="868" y="549"/>
                  </a:lnTo>
                  <a:lnTo>
                    <a:pt x="868" y="537"/>
                  </a:lnTo>
                  <a:lnTo>
                    <a:pt x="872" y="516"/>
                  </a:lnTo>
                  <a:lnTo>
                    <a:pt x="880" y="512"/>
                  </a:lnTo>
                  <a:lnTo>
                    <a:pt x="896" y="492"/>
                  </a:lnTo>
                  <a:lnTo>
                    <a:pt x="900" y="476"/>
                  </a:lnTo>
                  <a:lnTo>
                    <a:pt x="908" y="460"/>
                  </a:lnTo>
                  <a:lnTo>
                    <a:pt x="908" y="432"/>
                  </a:lnTo>
                  <a:lnTo>
                    <a:pt x="912" y="428"/>
                  </a:lnTo>
                  <a:lnTo>
                    <a:pt x="924" y="428"/>
                  </a:lnTo>
                  <a:lnTo>
                    <a:pt x="932" y="428"/>
                  </a:lnTo>
                  <a:lnTo>
                    <a:pt x="948" y="432"/>
                  </a:lnTo>
                  <a:lnTo>
                    <a:pt x="960" y="440"/>
                  </a:lnTo>
                  <a:lnTo>
                    <a:pt x="972" y="440"/>
                  </a:lnTo>
                  <a:lnTo>
                    <a:pt x="976" y="440"/>
                  </a:lnTo>
                  <a:lnTo>
                    <a:pt x="985" y="440"/>
                  </a:lnTo>
                  <a:lnTo>
                    <a:pt x="989" y="440"/>
                  </a:lnTo>
                  <a:lnTo>
                    <a:pt x="1013" y="440"/>
                  </a:lnTo>
                  <a:lnTo>
                    <a:pt x="1029" y="432"/>
                  </a:lnTo>
                  <a:lnTo>
                    <a:pt x="1029" y="440"/>
                  </a:lnTo>
                  <a:lnTo>
                    <a:pt x="1029" y="452"/>
                  </a:lnTo>
                  <a:lnTo>
                    <a:pt x="1041" y="456"/>
                  </a:lnTo>
                  <a:lnTo>
                    <a:pt x="1049" y="464"/>
                  </a:lnTo>
                  <a:lnTo>
                    <a:pt x="1061" y="464"/>
                  </a:lnTo>
                  <a:lnTo>
                    <a:pt x="1073" y="464"/>
                  </a:lnTo>
                  <a:lnTo>
                    <a:pt x="1089" y="456"/>
                  </a:lnTo>
                  <a:lnTo>
                    <a:pt x="1097" y="448"/>
                  </a:lnTo>
                  <a:lnTo>
                    <a:pt x="1101" y="424"/>
                  </a:lnTo>
                  <a:lnTo>
                    <a:pt x="1106" y="420"/>
                  </a:lnTo>
                  <a:lnTo>
                    <a:pt x="1114" y="404"/>
                  </a:lnTo>
                  <a:lnTo>
                    <a:pt x="1114" y="391"/>
                  </a:lnTo>
                  <a:lnTo>
                    <a:pt x="1114" y="387"/>
                  </a:lnTo>
                  <a:lnTo>
                    <a:pt x="1106" y="387"/>
                  </a:lnTo>
                  <a:lnTo>
                    <a:pt x="1097" y="367"/>
                  </a:lnTo>
                  <a:lnTo>
                    <a:pt x="1093" y="355"/>
                  </a:lnTo>
                  <a:lnTo>
                    <a:pt x="1093" y="315"/>
                  </a:lnTo>
                  <a:lnTo>
                    <a:pt x="1089" y="299"/>
                  </a:lnTo>
                  <a:lnTo>
                    <a:pt x="1069" y="282"/>
                  </a:lnTo>
                  <a:lnTo>
                    <a:pt x="1053" y="262"/>
                  </a:lnTo>
                  <a:lnTo>
                    <a:pt x="1037" y="262"/>
                  </a:lnTo>
                  <a:lnTo>
                    <a:pt x="1029" y="258"/>
                  </a:lnTo>
                  <a:lnTo>
                    <a:pt x="1021" y="258"/>
                  </a:lnTo>
                  <a:lnTo>
                    <a:pt x="1009" y="258"/>
                  </a:lnTo>
                  <a:lnTo>
                    <a:pt x="1001" y="262"/>
                  </a:lnTo>
                  <a:lnTo>
                    <a:pt x="989" y="274"/>
                  </a:lnTo>
                  <a:lnTo>
                    <a:pt x="964" y="270"/>
                  </a:lnTo>
                  <a:lnTo>
                    <a:pt x="936" y="270"/>
                  </a:lnTo>
                  <a:lnTo>
                    <a:pt x="928" y="262"/>
                  </a:lnTo>
                  <a:lnTo>
                    <a:pt x="912" y="262"/>
                  </a:lnTo>
                  <a:lnTo>
                    <a:pt x="896" y="246"/>
                  </a:lnTo>
                  <a:lnTo>
                    <a:pt x="876" y="234"/>
                  </a:lnTo>
                  <a:lnTo>
                    <a:pt x="868" y="230"/>
                  </a:lnTo>
                  <a:lnTo>
                    <a:pt x="855" y="226"/>
                  </a:lnTo>
                  <a:lnTo>
                    <a:pt x="855" y="222"/>
                  </a:lnTo>
                  <a:lnTo>
                    <a:pt x="843" y="214"/>
                  </a:lnTo>
                  <a:lnTo>
                    <a:pt x="811" y="214"/>
                  </a:lnTo>
                  <a:lnTo>
                    <a:pt x="795" y="222"/>
                  </a:lnTo>
                  <a:lnTo>
                    <a:pt x="791" y="230"/>
                  </a:lnTo>
                  <a:lnTo>
                    <a:pt x="791" y="238"/>
                  </a:lnTo>
                  <a:lnTo>
                    <a:pt x="783" y="242"/>
                  </a:lnTo>
                  <a:lnTo>
                    <a:pt x="779" y="242"/>
                  </a:lnTo>
                  <a:lnTo>
                    <a:pt x="718" y="242"/>
                  </a:lnTo>
                  <a:lnTo>
                    <a:pt x="686" y="242"/>
                  </a:lnTo>
                  <a:lnTo>
                    <a:pt x="682" y="238"/>
                  </a:lnTo>
                  <a:lnTo>
                    <a:pt x="678" y="234"/>
                  </a:lnTo>
                  <a:lnTo>
                    <a:pt x="678" y="214"/>
                  </a:lnTo>
                  <a:lnTo>
                    <a:pt x="678" y="198"/>
                  </a:lnTo>
                  <a:lnTo>
                    <a:pt x="682" y="194"/>
                  </a:lnTo>
                  <a:lnTo>
                    <a:pt x="686" y="190"/>
                  </a:lnTo>
                  <a:lnTo>
                    <a:pt x="690" y="186"/>
                  </a:lnTo>
                  <a:lnTo>
                    <a:pt x="698" y="178"/>
                  </a:lnTo>
                  <a:lnTo>
                    <a:pt x="698" y="174"/>
                  </a:lnTo>
                  <a:lnTo>
                    <a:pt x="698" y="165"/>
                  </a:lnTo>
                  <a:lnTo>
                    <a:pt x="686" y="145"/>
                  </a:lnTo>
                  <a:lnTo>
                    <a:pt x="678" y="125"/>
                  </a:lnTo>
                  <a:lnTo>
                    <a:pt x="674" y="113"/>
                  </a:lnTo>
                  <a:lnTo>
                    <a:pt x="666" y="93"/>
                  </a:lnTo>
                  <a:lnTo>
                    <a:pt x="666" y="89"/>
                  </a:lnTo>
                  <a:lnTo>
                    <a:pt x="662" y="85"/>
                  </a:lnTo>
                  <a:lnTo>
                    <a:pt x="654" y="32"/>
                  </a:lnTo>
                  <a:lnTo>
                    <a:pt x="650" y="8"/>
                  </a:lnTo>
                  <a:lnTo>
                    <a:pt x="638" y="8"/>
                  </a:lnTo>
                  <a:lnTo>
                    <a:pt x="629" y="0"/>
                  </a:lnTo>
                  <a:lnTo>
                    <a:pt x="629" y="24"/>
                  </a:lnTo>
                  <a:lnTo>
                    <a:pt x="629" y="40"/>
                  </a:lnTo>
                  <a:lnTo>
                    <a:pt x="634" y="44"/>
                  </a:lnTo>
                  <a:lnTo>
                    <a:pt x="634" y="48"/>
                  </a:lnTo>
                  <a:lnTo>
                    <a:pt x="638" y="69"/>
                  </a:lnTo>
                  <a:lnTo>
                    <a:pt x="646" y="101"/>
                  </a:lnTo>
                  <a:lnTo>
                    <a:pt x="654" y="113"/>
                  </a:lnTo>
                  <a:lnTo>
                    <a:pt x="658" y="117"/>
                  </a:lnTo>
                  <a:lnTo>
                    <a:pt x="658" y="125"/>
                  </a:lnTo>
                  <a:lnTo>
                    <a:pt x="662" y="129"/>
                  </a:lnTo>
                  <a:lnTo>
                    <a:pt x="662" y="149"/>
                  </a:lnTo>
                  <a:lnTo>
                    <a:pt x="662" y="165"/>
                  </a:lnTo>
                  <a:lnTo>
                    <a:pt x="658" y="178"/>
                  </a:lnTo>
                  <a:lnTo>
                    <a:pt x="654" y="198"/>
                  </a:lnTo>
                  <a:lnTo>
                    <a:pt x="650" y="198"/>
                  </a:lnTo>
                  <a:lnTo>
                    <a:pt x="646" y="202"/>
                  </a:lnTo>
                  <a:lnTo>
                    <a:pt x="634" y="202"/>
                  </a:lnTo>
                  <a:lnTo>
                    <a:pt x="621" y="202"/>
                  </a:lnTo>
                  <a:lnTo>
                    <a:pt x="613" y="186"/>
                  </a:lnTo>
                  <a:lnTo>
                    <a:pt x="597" y="174"/>
                  </a:lnTo>
                  <a:lnTo>
                    <a:pt x="597" y="165"/>
                  </a:lnTo>
                  <a:lnTo>
                    <a:pt x="593" y="157"/>
                  </a:lnTo>
                  <a:lnTo>
                    <a:pt x="581" y="149"/>
                  </a:lnTo>
                  <a:lnTo>
                    <a:pt x="581" y="145"/>
                  </a:lnTo>
                  <a:lnTo>
                    <a:pt x="565" y="129"/>
                  </a:lnTo>
                  <a:lnTo>
                    <a:pt x="549" y="117"/>
                  </a:lnTo>
                  <a:lnTo>
                    <a:pt x="537" y="117"/>
                  </a:lnTo>
                  <a:lnTo>
                    <a:pt x="517" y="117"/>
                  </a:lnTo>
                  <a:lnTo>
                    <a:pt x="508" y="121"/>
                  </a:lnTo>
                  <a:lnTo>
                    <a:pt x="496" y="129"/>
                  </a:lnTo>
                  <a:lnTo>
                    <a:pt x="488" y="137"/>
                  </a:lnTo>
                  <a:lnTo>
                    <a:pt x="480" y="149"/>
                  </a:lnTo>
                  <a:lnTo>
                    <a:pt x="468" y="149"/>
                  </a:lnTo>
                  <a:lnTo>
                    <a:pt x="456" y="149"/>
                  </a:lnTo>
                  <a:lnTo>
                    <a:pt x="440" y="145"/>
                  </a:lnTo>
                  <a:lnTo>
                    <a:pt x="420" y="137"/>
                  </a:lnTo>
                  <a:lnTo>
                    <a:pt x="391" y="137"/>
                  </a:lnTo>
                  <a:lnTo>
                    <a:pt x="367" y="137"/>
                  </a:lnTo>
                  <a:lnTo>
                    <a:pt x="347" y="129"/>
                  </a:lnTo>
                  <a:lnTo>
                    <a:pt x="327" y="121"/>
                  </a:lnTo>
                  <a:lnTo>
                    <a:pt x="299" y="117"/>
                  </a:lnTo>
                  <a:lnTo>
                    <a:pt x="279" y="113"/>
                  </a:lnTo>
                  <a:lnTo>
                    <a:pt x="274" y="109"/>
                  </a:lnTo>
                  <a:lnTo>
                    <a:pt x="262" y="101"/>
                  </a:lnTo>
                  <a:lnTo>
                    <a:pt x="254" y="89"/>
                  </a:lnTo>
                  <a:lnTo>
                    <a:pt x="238" y="77"/>
                  </a:lnTo>
                  <a:lnTo>
                    <a:pt x="234" y="57"/>
                  </a:lnTo>
                  <a:lnTo>
                    <a:pt x="222" y="36"/>
                  </a:lnTo>
                  <a:lnTo>
                    <a:pt x="206" y="32"/>
                  </a:lnTo>
                  <a:lnTo>
                    <a:pt x="190" y="28"/>
                  </a:lnTo>
                  <a:lnTo>
                    <a:pt x="190" y="44"/>
                  </a:lnTo>
                  <a:lnTo>
                    <a:pt x="190" y="61"/>
                  </a:lnTo>
                  <a:lnTo>
                    <a:pt x="206" y="77"/>
                  </a:lnTo>
                  <a:lnTo>
                    <a:pt x="218" y="89"/>
                  </a:lnTo>
                  <a:lnTo>
                    <a:pt x="218" y="113"/>
                  </a:lnTo>
                  <a:lnTo>
                    <a:pt x="218" y="137"/>
                  </a:lnTo>
                  <a:lnTo>
                    <a:pt x="214" y="149"/>
                  </a:lnTo>
                  <a:lnTo>
                    <a:pt x="206" y="157"/>
                  </a:lnTo>
                  <a:lnTo>
                    <a:pt x="133" y="161"/>
                  </a:lnTo>
                  <a:lnTo>
                    <a:pt x="121" y="165"/>
                  </a:lnTo>
                  <a:lnTo>
                    <a:pt x="121" y="174"/>
                  </a:lnTo>
                  <a:lnTo>
                    <a:pt x="117" y="174"/>
                  </a:lnTo>
                  <a:lnTo>
                    <a:pt x="117" y="186"/>
                  </a:lnTo>
                  <a:lnTo>
                    <a:pt x="117" y="194"/>
                  </a:lnTo>
                  <a:lnTo>
                    <a:pt x="125" y="202"/>
                  </a:lnTo>
                  <a:lnTo>
                    <a:pt x="129" y="210"/>
                  </a:lnTo>
                  <a:lnTo>
                    <a:pt x="129" y="238"/>
                  </a:lnTo>
                  <a:lnTo>
                    <a:pt x="129" y="262"/>
                  </a:lnTo>
                  <a:lnTo>
                    <a:pt x="133" y="278"/>
                  </a:lnTo>
                  <a:lnTo>
                    <a:pt x="141" y="295"/>
                  </a:lnTo>
                  <a:lnTo>
                    <a:pt x="141" y="311"/>
                  </a:lnTo>
                  <a:lnTo>
                    <a:pt x="141" y="319"/>
                  </a:lnTo>
                  <a:lnTo>
                    <a:pt x="137" y="327"/>
                  </a:lnTo>
                  <a:lnTo>
                    <a:pt x="133" y="331"/>
                  </a:lnTo>
                  <a:lnTo>
                    <a:pt x="125" y="335"/>
                  </a:lnTo>
                  <a:lnTo>
                    <a:pt x="117" y="343"/>
                  </a:lnTo>
                  <a:lnTo>
                    <a:pt x="65" y="363"/>
                  </a:lnTo>
                  <a:lnTo>
                    <a:pt x="28" y="375"/>
                  </a:lnTo>
                  <a:lnTo>
                    <a:pt x="24" y="379"/>
                  </a:lnTo>
                  <a:lnTo>
                    <a:pt x="16" y="383"/>
                  </a:lnTo>
                  <a:lnTo>
                    <a:pt x="8" y="391"/>
                  </a:lnTo>
                  <a:lnTo>
                    <a:pt x="0" y="404"/>
                  </a:lnTo>
                  <a:lnTo>
                    <a:pt x="0" y="424"/>
                  </a:lnTo>
                  <a:lnTo>
                    <a:pt x="0" y="452"/>
                  </a:lnTo>
                  <a:lnTo>
                    <a:pt x="4" y="456"/>
                  </a:lnTo>
                  <a:lnTo>
                    <a:pt x="8" y="460"/>
                  </a:lnTo>
                  <a:lnTo>
                    <a:pt x="16" y="460"/>
                  </a:lnTo>
                  <a:lnTo>
                    <a:pt x="28" y="460"/>
                  </a:lnTo>
                  <a:lnTo>
                    <a:pt x="45" y="456"/>
                  </a:lnTo>
                  <a:lnTo>
                    <a:pt x="57" y="452"/>
                  </a:lnTo>
                  <a:lnTo>
                    <a:pt x="57" y="448"/>
                  </a:lnTo>
                  <a:lnTo>
                    <a:pt x="81" y="440"/>
                  </a:lnTo>
                  <a:lnTo>
                    <a:pt x="105" y="428"/>
                  </a:lnTo>
                  <a:lnTo>
                    <a:pt x="109" y="424"/>
                  </a:lnTo>
                  <a:lnTo>
                    <a:pt x="121" y="420"/>
                  </a:lnTo>
                  <a:lnTo>
                    <a:pt x="129" y="416"/>
                  </a:lnTo>
                  <a:lnTo>
                    <a:pt x="133" y="416"/>
                  </a:lnTo>
                  <a:lnTo>
                    <a:pt x="137" y="420"/>
                  </a:lnTo>
                  <a:lnTo>
                    <a:pt x="141" y="424"/>
                  </a:lnTo>
                  <a:lnTo>
                    <a:pt x="149" y="432"/>
                  </a:lnTo>
                  <a:lnTo>
                    <a:pt x="149" y="476"/>
                  </a:lnTo>
                  <a:lnTo>
                    <a:pt x="149" y="516"/>
                  </a:lnTo>
                  <a:lnTo>
                    <a:pt x="153" y="525"/>
                  </a:lnTo>
                  <a:lnTo>
                    <a:pt x="158" y="529"/>
                  </a:lnTo>
                  <a:lnTo>
                    <a:pt x="170" y="545"/>
                  </a:lnTo>
                  <a:lnTo>
                    <a:pt x="178" y="561"/>
                  </a:lnTo>
                  <a:lnTo>
                    <a:pt x="178" y="577"/>
                  </a:lnTo>
                  <a:lnTo>
                    <a:pt x="174" y="585"/>
                  </a:lnTo>
                  <a:lnTo>
                    <a:pt x="158" y="593"/>
                  </a:lnTo>
                  <a:lnTo>
                    <a:pt x="141" y="609"/>
                  </a:lnTo>
                  <a:lnTo>
                    <a:pt x="125" y="613"/>
                  </a:lnTo>
                  <a:lnTo>
                    <a:pt x="109" y="617"/>
                  </a:lnTo>
                  <a:lnTo>
                    <a:pt x="101" y="629"/>
                  </a:lnTo>
                  <a:lnTo>
                    <a:pt x="93" y="638"/>
                  </a:lnTo>
                  <a:lnTo>
                    <a:pt x="85" y="662"/>
                  </a:lnTo>
                  <a:lnTo>
                    <a:pt x="85" y="678"/>
                  </a:lnTo>
                  <a:lnTo>
                    <a:pt x="93" y="686"/>
                  </a:lnTo>
                  <a:lnTo>
                    <a:pt x="93" y="698"/>
                  </a:lnTo>
                  <a:lnTo>
                    <a:pt x="101" y="714"/>
                  </a:lnTo>
                  <a:lnTo>
                    <a:pt x="109" y="730"/>
                  </a:lnTo>
                  <a:lnTo>
                    <a:pt x="109" y="755"/>
                  </a:lnTo>
                  <a:lnTo>
                    <a:pt x="109" y="771"/>
                  </a:lnTo>
                  <a:lnTo>
                    <a:pt x="105" y="791"/>
                  </a:lnTo>
                  <a:lnTo>
                    <a:pt x="105" y="803"/>
                  </a:lnTo>
                  <a:lnTo>
                    <a:pt x="105" y="815"/>
                  </a:lnTo>
                  <a:lnTo>
                    <a:pt x="109" y="827"/>
                  </a:lnTo>
                  <a:lnTo>
                    <a:pt x="109" y="867"/>
                  </a:lnTo>
                  <a:lnTo>
                    <a:pt x="117" y="892"/>
                  </a:lnTo>
                  <a:lnTo>
                    <a:pt x="129" y="916"/>
                  </a:lnTo>
                  <a:lnTo>
                    <a:pt x="137" y="920"/>
                  </a:lnTo>
                  <a:lnTo>
                    <a:pt x="141" y="920"/>
                  </a:lnTo>
                  <a:lnTo>
                    <a:pt x="153" y="916"/>
                  </a:lnTo>
                  <a:lnTo>
                    <a:pt x="162" y="884"/>
                  </a:lnTo>
                  <a:lnTo>
                    <a:pt x="174" y="831"/>
                  </a:lnTo>
                  <a:lnTo>
                    <a:pt x="186" y="819"/>
                  </a:lnTo>
                  <a:lnTo>
                    <a:pt x="194" y="799"/>
                  </a:lnTo>
                  <a:lnTo>
                    <a:pt x="202" y="791"/>
                  </a:lnTo>
                  <a:lnTo>
                    <a:pt x="202" y="783"/>
                  </a:lnTo>
                  <a:lnTo>
                    <a:pt x="210" y="771"/>
                  </a:lnTo>
                  <a:lnTo>
                    <a:pt x="218" y="767"/>
                  </a:lnTo>
                  <a:lnTo>
                    <a:pt x="234" y="767"/>
                  </a:lnTo>
                  <a:lnTo>
                    <a:pt x="250" y="767"/>
                  </a:lnTo>
                  <a:lnTo>
                    <a:pt x="262" y="779"/>
                  </a:lnTo>
                  <a:lnTo>
                    <a:pt x="270" y="783"/>
                  </a:lnTo>
                  <a:lnTo>
                    <a:pt x="279" y="791"/>
                  </a:lnTo>
                  <a:lnTo>
                    <a:pt x="291" y="791"/>
                  </a:lnTo>
                  <a:lnTo>
                    <a:pt x="291" y="795"/>
                  </a:lnTo>
                  <a:lnTo>
                    <a:pt x="331" y="799"/>
                  </a:lnTo>
                  <a:lnTo>
                    <a:pt x="375" y="807"/>
                  </a:lnTo>
                  <a:lnTo>
                    <a:pt x="391" y="807"/>
                  </a:lnTo>
                  <a:lnTo>
                    <a:pt x="416" y="807"/>
                  </a:lnTo>
                  <a:lnTo>
                    <a:pt x="432" y="803"/>
                  </a:lnTo>
                  <a:lnTo>
                    <a:pt x="448" y="795"/>
                  </a:lnTo>
                  <a:lnTo>
                    <a:pt x="456" y="783"/>
                  </a:lnTo>
                  <a:lnTo>
                    <a:pt x="468" y="767"/>
                  </a:lnTo>
                  <a:lnTo>
                    <a:pt x="472" y="718"/>
                  </a:lnTo>
                  <a:lnTo>
                    <a:pt x="480" y="674"/>
                  </a:lnTo>
                  <a:lnTo>
                    <a:pt x="484" y="666"/>
                  </a:lnTo>
                  <a:lnTo>
                    <a:pt x="488" y="662"/>
                  </a:lnTo>
                  <a:lnTo>
                    <a:pt x="513" y="633"/>
                  </a:lnTo>
                  <a:lnTo>
                    <a:pt x="521" y="621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12" name="Freeform 20"/>
            <p:cNvSpPr>
              <a:spLocks/>
            </p:cNvSpPr>
            <p:nvPr/>
          </p:nvSpPr>
          <p:spPr bwMode="auto">
            <a:xfrm>
              <a:off x="7496032" y="5430140"/>
              <a:ext cx="684213" cy="1203072"/>
            </a:xfrm>
            <a:custGeom>
              <a:avLst/>
              <a:gdLst>
                <a:gd name="T0" fmla="*/ 468434450 w 762"/>
                <a:gd name="T1" fmla="*/ 982995918 h 1352"/>
                <a:gd name="T2" fmla="*/ 409577784 w 762"/>
                <a:gd name="T3" fmla="*/ 970850749 h 1352"/>
                <a:gd name="T4" fmla="*/ 403128046 w 762"/>
                <a:gd name="T5" fmla="*/ 879002908 h 1352"/>
                <a:gd name="T6" fmla="*/ 354752766 w 762"/>
                <a:gd name="T7" fmla="*/ 854712570 h 1352"/>
                <a:gd name="T8" fmla="*/ 286221044 w 762"/>
                <a:gd name="T9" fmla="*/ 824350518 h 1352"/>
                <a:gd name="T10" fmla="*/ 266870932 w 762"/>
                <a:gd name="T11" fmla="*/ 860785154 h 1352"/>
                <a:gd name="T12" fmla="*/ 172538406 w 762"/>
                <a:gd name="T13" fmla="*/ 882039200 h 1352"/>
                <a:gd name="T14" fmla="*/ 143513238 w 762"/>
                <a:gd name="T15" fmla="*/ 891148077 h 1352"/>
                <a:gd name="T16" fmla="*/ 159638930 w 762"/>
                <a:gd name="T17" fmla="*/ 863821447 h 1352"/>
                <a:gd name="T18" fmla="*/ 136257170 w 762"/>
                <a:gd name="T19" fmla="*/ 778047279 h 1352"/>
                <a:gd name="T20" fmla="*/ 107231974 w 762"/>
                <a:gd name="T21" fmla="*/ 750719778 h 1352"/>
                <a:gd name="T22" fmla="*/ 87881862 w 762"/>
                <a:gd name="T23" fmla="*/ 732502895 h 1352"/>
                <a:gd name="T24" fmla="*/ 19350119 w 762"/>
                <a:gd name="T25" fmla="*/ 695308533 h 1352"/>
                <a:gd name="T26" fmla="*/ 25799857 w 762"/>
                <a:gd name="T27" fmla="*/ 664945610 h 1352"/>
                <a:gd name="T28" fmla="*/ 0 w 762"/>
                <a:gd name="T29" fmla="*/ 627751248 h 1352"/>
                <a:gd name="T30" fmla="*/ 35474920 w 762"/>
                <a:gd name="T31" fmla="*/ 612569786 h 1352"/>
                <a:gd name="T32" fmla="*/ 65306432 w 762"/>
                <a:gd name="T33" fmla="*/ 636860124 h 1352"/>
                <a:gd name="T34" fmla="*/ 113681712 w 762"/>
                <a:gd name="T35" fmla="*/ 609533494 h 1352"/>
                <a:gd name="T36" fmla="*/ 224139004 w 762"/>
                <a:gd name="T37" fmla="*/ 594352033 h 1352"/>
                <a:gd name="T38" fmla="*/ 220913686 w 762"/>
                <a:gd name="T39" fmla="*/ 551085086 h 1352"/>
                <a:gd name="T40" fmla="*/ 211238630 w 762"/>
                <a:gd name="T41" fmla="*/ 508576994 h 1352"/>
                <a:gd name="T42" fmla="*/ 224139004 w 762"/>
                <a:gd name="T43" fmla="*/ 441019600 h 1352"/>
                <a:gd name="T44" fmla="*/ 214463948 w 762"/>
                <a:gd name="T45" fmla="*/ 358280854 h 1352"/>
                <a:gd name="T46" fmla="*/ 185438780 w 762"/>
                <a:gd name="T47" fmla="*/ 318809054 h 1352"/>
                <a:gd name="T48" fmla="*/ 195113836 w 762"/>
                <a:gd name="T49" fmla="*/ 263396938 h 1352"/>
                <a:gd name="T50" fmla="*/ 182213462 w 762"/>
                <a:gd name="T51" fmla="*/ 229998595 h 1352"/>
                <a:gd name="T52" fmla="*/ 146738556 w 762"/>
                <a:gd name="T53" fmla="*/ 174586424 h 1352"/>
                <a:gd name="T54" fmla="*/ 133031852 w 762"/>
                <a:gd name="T55" fmla="*/ 107029112 h 1352"/>
                <a:gd name="T56" fmla="*/ 113681712 w 762"/>
                <a:gd name="T57" fmla="*/ 73629897 h 1352"/>
                <a:gd name="T58" fmla="*/ 188664098 w 762"/>
                <a:gd name="T59" fmla="*/ 0 h 1352"/>
                <a:gd name="T60" fmla="*/ 217689266 w 762"/>
                <a:gd name="T61" fmla="*/ 43266961 h 1352"/>
                <a:gd name="T62" fmla="*/ 263645614 w 762"/>
                <a:gd name="T63" fmla="*/ 85775066 h 1352"/>
                <a:gd name="T64" fmla="*/ 276545988 w 762"/>
                <a:gd name="T65" fmla="*/ 110824259 h 1352"/>
                <a:gd name="T66" fmla="*/ 315246212 w 762"/>
                <a:gd name="T67" fmla="*/ 91847650 h 1352"/>
                <a:gd name="T68" fmla="*/ 357977186 w 762"/>
                <a:gd name="T69" fmla="*/ 64521020 h 1352"/>
                <a:gd name="T70" fmla="*/ 439409282 w 762"/>
                <a:gd name="T71" fmla="*/ 85775066 h 1352"/>
                <a:gd name="T72" fmla="*/ 468434450 w 762"/>
                <a:gd name="T73" fmla="*/ 64521020 h 1352"/>
                <a:gd name="T74" fmla="*/ 513584525 w 762"/>
                <a:gd name="T75" fmla="*/ 79702481 h 1352"/>
                <a:gd name="T76" fmla="*/ 527291228 w 762"/>
                <a:gd name="T77" fmla="*/ 138150917 h 1352"/>
                <a:gd name="T78" fmla="*/ 533740966 w 762"/>
                <a:gd name="T79" fmla="*/ 183695301 h 1352"/>
                <a:gd name="T80" fmla="*/ 536966284 w 762"/>
                <a:gd name="T81" fmla="*/ 229998595 h 1352"/>
                <a:gd name="T82" fmla="*/ 520035161 w 762"/>
                <a:gd name="T83" fmla="*/ 284650984 h 1352"/>
                <a:gd name="T84" fmla="*/ 513584525 w 762"/>
                <a:gd name="T85" fmla="*/ 327917931 h 1352"/>
                <a:gd name="T86" fmla="*/ 497459731 w 762"/>
                <a:gd name="T87" fmla="*/ 352208269 h 1352"/>
                <a:gd name="T88" fmla="*/ 510360105 w 762"/>
                <a:gd name="T89" fmla="*/ 404584093 h 1352"/>
                <a:gd name="T90" fmla="*/ 530516546 w 762"/>
                <a:gd name="T91" fmla="*/ 456201061 h 1352"/>
                <a:gd name="T92" fmla="*/ 549866658 w 762"/>
                <a:gd name="T93" fmla="*/ 535903624 h 1352"/>
                <a:gd name="T94" fmla="*/ 540191602 w 762"/>
                <a:gd name="T95" fmla="*/ 621678663 h 1352"/>
                <a:gd name="T96" fmla="*/ 565991453 w 762"/>
                <a:gd name="T97" fmla="*/ 677090779 h 1352"/>
                <a:gd name="T98" fmla="*/ 585341565 w 762"/>
                <a:gd name="T99" fmla="*/ 775010116 h 1352"/>
                <a:gd name="T100" fmla="*/ 604691677 w 762"/>
                <a:gd name="T101" fmla="*/ 824350518 h 1352"/>
                <a:gd name="T102" fmla="*/ 614366733 w 762"/>
                <a:gd name="T103" fmla="*/ 879002908 h 1352"/>
                <a:gd name="T104" fmla="*/ 565991453 w 762"/>
                <a:gd name="T105" fmla="*/ 919233780 h 1352"/>
                <a:gd name="T106" fmla="*/ 540191602 w 762"/>
                <a:gd name="T107" fmla="*/ 943524119 h 1352"/>
                <a:gd name="T108" fmla="*/ 500685049 w 762"/>
                <a:gd name="T109" fmla="*/ 1026262865 h 135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62"/>
                <a:gd name="T166" fmla="*/ 0 h 1352"/>
                <a:gd name="T167" fmla="*/ 762 w 762"/>
                <a:gd name="T168" fmla="*/ 1352 h 135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62" h="1352">
                  <a:moveTo>
                    <a:pt x="609" y="1352"/>
                  </a:moveTo>
                  <a:lnTo>
                    <a:pt x="605" y="1340"/>
                  </a:lnTo>
                  <a:lnTo>
                    <a:pt x="585" y="1320"/>
                  </a:lnTo>
                  <a:lnTo>
                    <a:pt x="585" y="1307"/>
                  </a:lnTo>
                  <a:lnTo>
                    <a:pt x="581" y="1295"/>
                  </a:lnTo>
                  <a:lnTo>
                    <a:pt x="577" y="1291"/>
                  </a:lnTo>
                  <a:lnTo>
                    <a:pt x="573" y="1283"/>
                  </a:lnTo>
                  <a:lnTo>
                    <a:pt x="541" y="1283"/>
                  </a:lnTo>
                  <a:lnTo>
                    <a:pt x="516" y="1283"/>
                  </a:lnTo>
                  <a:lnTo>
                    <a:pt x="508" y="1279"/>
                  </a:lnTo>
                  <a:lnTo>
                    <a:pt x="504" y="1275"/>
                  </a:lnTo>
                  <a:lnTo>
                    <a:pt x="504" y="1267"/>
                  </a:lnTo>
                  <a:lnTo>
                    <a:pt x="500" y="1255"/>
                  </a:lnTo>
                  <a:lnTo>
                    <a:pt x="500" y="1207"/>
                  </a:lnTo>
                  <a:lnTo>
                    <a:pt x="500" y="1158"/>
                  </a:lnTo>
                  <a:lnTo>
                    <a:pt x="496" y="1154"/>
                  </a:lnTo>
                  <a:lnTo>
                    <a:pt x="492" y="1142"/>
                  </a:lnTo>
                  <a:lnTo>
                    <a:pt x="468" y="1142"/>
                  </a:lnTo>
                  <a:lnTo>
                    <a:pt x="444" y="1138"/>
                  </a:lnTo>
                  <a:lnTo>
                    <a:pt x="440" y="1126"/>
                  </a:lnTo>
                  <a:lnTo>
                    <a:pt x="436" y="1102"/>
                  </a:lnTo>
                  <a:lnTo>
                    <a:pt x="424" y="1098"/>
                  </a:lnTo>
                  <a:lnTo>
                    <a:pt x="416" y="1090"/>
                  </a:lnTo>
                  <a:lnTo>
                    <a:pt x="387" y="1086"/>
                  </a:lnTo>
                  <a:lnTo>
                    <a:pt x="355" y="1086"/>
                  </a:lnTo>
                  <a:lnTo>
                    <a:pt x="351" y="1086"/>
                  </a:lnTo>
                  <a:lnTo>
                    <a:pt x="347" y="1090"/>
                  </a:lnTo>
                  <a:lnTo>
                    <a:pt x="347" y="1102"/>
                  </a:lnTo>
                  <a:lnTo>
                    <a:pt x="347" y="1126"/>
                  </a:lnTo>
                  <a:lnTo>
                    <a:pt x="331" y="1134"/>
                  </a:lnTo>
                  <a:lnTo>
                    <a:pt x="307" y="1146"/>
                  </a:lnTo>
                  <a:lnTo>
                    <a:pt x="270" y="1154"/>
                  </a:lnTo>
                  <a:lnTo>
                    <a:pt x="230" y="1158"/>
                  </a:lnTo>
                  <a:lnTo>
                    <a:pt x="222" y="1158"/>
                  </a:lnTo>
                  <a:lnTo>
                    <a:pt x="214" y="1162"/>
                  </a:lnTo>
                  <a:lnTo>
                    <a:pt x="206" y="1170"/>
                  </a:lnTo>
                  <a:lnTo>
                    <a:pt x="194" y="1174"/>
                  </a:lnTo>
                  <a:lnTo>
                    <a:pt x="182" y="1174"/>
                  </a:lnTo>
                  <a:lnTo>
                    <a:pt x="178" y="1174"/>
                  </a:lnTo>
                  <a:lnTo>
                    <a:pt x="169" y="1170"/>
                  </a:lnTo>
                  <a:lnTo>
                    <a:pt x="169" y="1162"/>
                  </a:lnTo>
                  <a:lnTo>
                    <a:pt x="178" y="1154"/>
                  </a:lnTo>
                  <a:lnTo>
                    <a:pt x="182" y="1146"/>
                  </a:lnTo>
                  <a:lnTo>
                    <a:pt x="198" y="1138"/>
                  </a:lnTo>
                  <a:lnTo>
                    <a:pt x="198" y="1102"/>
                  </a:lnTo>
                  <a:lnTo>
                    <a:pt x="198" y="1069"/>
                  </a:lnTo>
                  <a:lnTo>
                    <a:pt x="194" y="1049"/>
                  </a:lnTo>
                  <a:lnTo>
                    <a:pt x="182" y="1025"/>
                  </a:lnTo>
                  <a:lnTo>
                    <a:pt x="169" y="1025"/>
                  </a:lnTo>
                  <a:lnTo>
                    <a:pt x="157" y="1021"/>
                  </a:lnTo>
                  <a:lnTo>
                    <a:pt x="153" y="1009"/>
                  </a:lnTo>
                  <a:lnTo>
                    <a:pt x="141" y="997"/>
                  </a:lnTo>
                  <a:lnTo>
                    <a:pt x="141" y="989"/>
                  </a:lnTo>
                  <a:lnTo>
                    <a:pt x="133" y="989"/>
                  </a:lnTo>
                  <a:lnTo>
                    <a:pt x="129" y="985"/>
                  </a:lnTo>
                  <a:lnTo>
                    <a:pt x="129" y="977"/>
                  </a:lnTo>
                  <a:lnTo>
                    <a:pt x="117" y="977"/>
                  </a:lnTo>
                  <a:lnTo>
                    <a:pt x="113" y="973"/>
                  </a:lnTo>
                  <a:lnTo>
                    <a:pt x="109" y="965"/>
                  </a:lnTo>
                  <a:lnTo>
                    <a:pt x="101" y="952"/>
                  </a:lnTo>
                  <a:lnTo>
                    <a:pt x="81" y="948"/>
                  </a:lnTo>
                  <a:lnTo>
                    <a:pt x="61" y="932"/>
                  </a:lnTo>
                  <a:lnTo>
                    <a:pt x="28" y="920"/>
                  </a:lnTo>
                  <a:lnTo>
                    <a:pt x="24" y="916"/>
                  </a:lnTo>
                  <a:lnTo>
                    <a:pt x="24" y="912"/>
                  </a:lnTo>
                  <a:lnTo>
                    <a:pt x="24" y="900"/>
                  </a:lnTo>
                  <a:lnTo>
                    <a:pt x="28" y="892"/>
                  </a:lnTo>
                  <a:lnTo>
                    <a:pt x="36" y="884"/>
                  </a:lnTo>
                  <a:lnTo>
                    <a:pt x="32" y="876"/>
                  </a:lnTo>
                  <a:lnTo>
                    <a:pt x="32" y="864"/>
                  </a:lnTo>
                  <a:lnTo>
                    <a:pt x="20" y="848"/>
                  </a:lnTo>
                  <a:lnTo>
                    <a:pt x="0" y="839"/>
                  </a:lnTo>
                  <a:lnTo>
                    <a:pt x="0" y="835"/>
                  </a:lnTo>
                  <a:lnTo>
                    <a:pt x="0" y="827"/>
                  </a:lnTo>
                  <a:lnTo>
                    <a:pt x="4" y="819"/>
                  </a:lnTo>
                  <a:lnTo>
                    <a:pt x="4" y="807"/>
                  </a:lnTo>
                  <a:lnTo>
                    <a:pt x="24" y="807"/>
                  </a:lnTo>
                  <a:lnTo>
                    <a:pt x="44" y="807"/>
                  </a:lnTo>
                  <a:lnTo>
                    <a:pt x="52" y="827"/>
                  </a:lnTo>
                  <a:lnTo>
                    <a:pt x="57" y="835"/>
                  </a:lnTo>
                  <a:lnTo>
                    <a:pt x="61" y="835"/>
                  </a:lnTo>
                  <a:lnTo>
                    <a:pt x="65" y="839"/>
                  </a:lnTo>
                  <a:lnTo>
                    <a:pt x="81" y="839"/>
                  </a:lnTo>
                  <a:lnTo>
                    <a:pt x="97" y="839"/>
                  </a:lnTo>
                  <a:lnTo>
                    <a:pt x="105" y="831"/>
                  </a:lnTo>
                  <a:lnTo>
                    <a:pt x="125" y="827"/>
                  </a:lnTo>
                  <a:lnTo>
                    <a:pt x="133" y="807"/>
                  </a:lnTo>
                  <a:lnTo>
                    <a:pt x="141" y="803"/>
                  </a:lnTo>
                  <a:lnTo>
                    <a:pt x="190" y="803"/>
                  </a:lnTo>
                  <a:lnTo>
                    <a:pt x="242" y="799"/>
                  </a:lnTo>
                  <a:lnTo>
                    <a:pt x="250" y="799"/>
                  </a:lnTo>
                  <a:lnTo>
                    <a:pt x="262" y="795"/>
                  </a:lnTo>
                  <a:lnTo>
                    <a:pt x="278" y="783"/>
                  </a:lnTo>
                  <a:lnTo>
                    <a:pt x="295" y="763"/>
                  </a:lnTo>
                  <a:lnTo>
                    <a:pt x="295" y="751"/>
                  </a:lnTo>
                  <a:lnTo>
                    <a:pt x="295" y="731"/>
                  </a:lnTo>
                  <a:lnTo>
                    <a:pt x="290" y="726"/>
                  </a:lnTo>
                  <a:lnTo>
                    <a:pt x="274" y="726"/>
                  </a:lnTo>
                  <a:lnTo>
                    <a:pt x="262" y="726"/>
                  </a:lnTo>
                  <a:lnTo>
                    <a:pt x="266" y="694"/>
                  </a:lnTo>
                  <a:lnTo>
                    <a:pt x="270" y="678"/>
                  </a:lnTo>
                  <a:lnTo>
                    <a:pt x="266" y="674"/>
                  </a:lnTo>
                  <a:lnTo>
                    <a:pt x="262" y="670"/>
                  </a:lnTo>
                  <a:lnTo>
                    <a:pt x="262" y="654"/>
                  </a:lnTo>
                  <a:lnTo>
                    <a:pt x="262" y="642"/>
                  </a:lnTo>
                  <a:lnTo>
                    <a:pt x="266" y="634"/>
                  </a:lnTo>
                  <a:lnTo>
                    <a:pt x="270" y="622"/>
                  </a:lnTo>
                  <a:lnTo>
                    <a:pt x="278" y="581"/>
                  </a:lnTo>
                  <a:lnTo>
                    <a:pt x="282" y="561"/>
                  </a:lnTo>
                  <a:lnTo>
                    <a:pt x="282" y="521"/>
                  </a:lnTo>
                  <a:lnTo>
                    <a:pt x="282" y="476"/>
                  </a:lnTo>
                  <a:lnTo>
                    <a:pt x="274" y="476"/>
                  </a:lnTo>
                  <a:lnTo>
                    <a:pt x="266" y="472"/>
                  </a:lnTo>
                  <a:lnTo>
                    <a:pt x="250" y="460"/>
                  </a:lnTo>
                  <a:lnTo>
                    <a:pt x="242" y="440"/>
                  </a:lnTo>
                  <a:lnTo>
                    <a:pt x="234" y="436"/>
                  </a:lnTo>
                  <a:lnTo>
                    <a:pt x="230" y="428"/>
                  </a:lnTo>
                  <a:lnTo>
                    <a:pt x="230" y="420"/>
                  </a:lnTo>
                  <a:lnTo>
                    <a:pt x="230" y="404"/>
                  </a:lnTo>
                  <a:lnTo>
                    <a:pt x="234" y="400"/>
                  </a:lnTo>
                  <a:lnTo>
                    <a:pt x="242" y="384"/>
                  </a:lnTo>
                  <a:lnTo>
                    <a:pt x="242" y="367"/>
                  </a:lnTo>
                  <a:lnTo>
                    <a:pt x="242" y="347"/>
                  </a:lnTo>
                  <a:lnTo>
                    <a:pt x="234" y="343"/>
                  </a:lnTo>
                  <a:lnTo>
                    <a:pt x="230" y="331"/>
                  </a:lnTo>
                  <a:lnTo>
                    <a:pt x="230" y="327"/>
                  </a:lnTo>
                  <a:lnTo>
                    <a:pt x="226" y="327"/>
                  </a:lnTo>
                  <a:lnTo>
                    <a:pt x="226" y="303"/>
                  </a:lnTo>
                  <a:lnTo>
                    <a:pt x="222" y="283"/>
                  </a:lnTo>
                  <a:lnTo>
                    <a:pt x="214" y="275"/>
                  </a:lnTo>
                  <a:lnTo>
                    <a:pt x="194" y="242"/>
                  </a:lnTo>
                  <a:lnTo>
                    <a:pt x="182" y="234"/>
                  </a:lnTo>
                  <a:lnTo>
                    <a:pt x="182" y="230"/>
                  </a:lnTo>
                  <a:lnTo>
                    <a:pt x="178" y="190"/>
                  </a:lnTo>
                  <a:lnTo>
                    <a:pt x="169" y="154"/>
                  </a:lnTo>
                  <a:lnTo>
                    <a:pt x="169" y="150"/>
                  </a:lnTo>
                  <a:lnTo>
                    <a:pt x="165" y="150"/>
                  </a:lnTo>
                  <a:lnTo>
                    <a:pt x="165" y="141"/>
                  </a:lnTo>
                  <a:lnTo>
                    <a:pt x="161" y="125"/>
                  </a:lnTo>
                  <a:lnTo>
                    <a:pt x="145" y="125"/>
                  </a:lnTo>
                  <a:lnTo>
                    <a:pt x="141" y="109"/>
                  </a:lnTo>
                  <a:lnTo>
                    <a:pt x="141" y="105"/>
                  </a:lnTo>
                  <a:lnTo>
                    <a:pt x="141" y="97"/>
                  </a:lnTo>
                  <a:lnTo>
                    <a:pt x="161" y="49"/>
                  </a:lnTo>
                  <a:lnTo>
                    <a:pt x="169" y="29"/>
                  </a:lnTo>
                  <a:lnTo>
                    <a:pt x="194" y="16"/>
                  </a:lnTo>
                  <a:lnTo>
                    <a:pt x="218" y="0"/>
                  </a:lnTo>
                  <a:lnTo>
                    <a:pt x="234" y="0"/>
                  </a:lnTo>
                  <a:lnTo>
                    <a:pt x="250" y="0"/>
                  </a:lnTo>
                  <a:lnTo>
                    <a:pt x="258" y="24"/>
                  </a:lnTo>
                  <a:lnTo>
                    <a:pt x="262" y="49"/>
                  </a:lnTo>
                  <a:lnTo>
                    <a:pt x="266" y="57"/>
                  </a:lnTo>
                  <a:lnTo>
                    <a:pt x="270" y="57"/>
                  </a:lnTo>
                  <a:lnTo>
                    <a:pt x="311" y="65"/>
                  </a:lnTo>
                  <a:lnTo>
                    <a:pt x="323" y="69"/>
                  </a:lnTo>
                  <a:lnTo>
                    <a:pt x="323" y="85"/>
                  </a:lnTo>
                  <a:lnTo>
                    <a:pt x="323" y="101"/>
                  </a:lnTo>
                  <a:lnTo>
                    <a:pt x="327" y="113"/>
                  </a:lnTo>
                  <a:lnTo>
                    <a:pt x="335" y="125"/>
                  </a:lnTo>
                  <a:lnTo>
                    <a:pt x="335" y="133"/>
                  </a:lnTo>
                  <a:lnTo>
                    <a:pt x="343" y="133"/>
                  </a:lnTo>
                  <a:lnTo>
                    <a:pt x="343" y="137"/>
                  </a:lnTo>
                  <a:lnTo>
                    <a:pt x="343" y="146"/>
                  </a:lnTo>
                  <a:lnTo>
                    <a:pt x="351" y="146"/>
                  </a:lnTo>
                  <a:lnTo>
                    <a:pt x="363" y="141"/>
                  </a:lnTo>
                  <a:lnTo>
                    <a:pt x="375" y="137"/>
                  </a:lnTo>
                  <a:lnTo>
                    <a:pt x="387" y="133"/>
                  </a:lnTo>
                  <a:lnTo>
                    <a:pt x="391" y="121"/>
                  </a:lnTo>
                  <a:lnTo>
                    <a:pt x="403" y="109"/>
                  </a:lnTo>
                  <a:lnTo>
                    <a:pt x="416" y="105"/>
                  </a:lnTo>
                  <a:lnTo>
                    <a:pt x="428" y="105"/>
                  </a:lnTo>
                  <a:lnTo>
                    <a:pt x="440" y="97"/>
                  </a:lnTo>
                  <a:lnTo>
                    <a:pt x="444" y="85"/>
                  </a:lnTo>
                  <a:lnTo>
                    <a:pt x="476" y="93"/>
                  </a:lnTo>
                  <a:lnTo>
                    <a:pt x="516" y="101"/>
                  </a:lnTo>
                  <a:lnTo>
                    <a:pt x="520" y="105"/>
                  </a:lnTo>
                  <a:lnTo>
                    <a:pt x="529" y="113"/>
                  </a:lnTo>
                  <a:lnTo>
                    <a:pt x="545" y="113"/>
                  </a:lnTo>
                  <a:lnTo>
                    <a:pt x="553" y="113"/>
                  </a:lnTo>
                  <a:lnTo>
                    <a:pt x="565" y="105"/>
                  </a:lnTo>
                  <a:lnTo>
                    <a:pt x="573" y="97"/>
                  </a:lnTo>
                  <a:lnTo>
                    <a:pt x="577" y="93"/>
                  </a:lnTo>
                  <a:lnTo>
                    <a:pt x="581" y="85"/>
                  </a:lnTo>
                  <a:lnTo>
                    <a:pt x="593" y="85"/>
                  </a:lnTo>
                  <a:lnTo>
                    <a:pt x="605" y="85"/>
                  </a:lnTo>
                  <a:lnTo>
                    <a:pt x="605" y="97"/>
                  </a:lnTo>
                  <a:lnTo>
                    <a:pt x="609" y="101"/>
                  </a:lnTo>
                  <a:lnTo>
                    <a:pt x="637" y="105"/>
                  </a:lnTo>
                  <a:lnTo>
                    <a:pt x="650" y="109"/>
                  </a:lnTo>
                  <a:lnTo>
                    <a:pt x="654" y="109"/>
                  </a:lnTo>
                  <a:lnTo>
                    <a:pt x="654" y="113"/>
                  </a:lnTo>
                  <a:lnTo>
                    <a:pt x="654" y="146"/>
                  </a:lnTo>
                  <a:lnTo>
                    <a:pt x="654" y="182"/>
                  </a:lnTo>
                  <a:lnTo>
                    <a:pt x="662" y="186"/>
                  </a:lnTo>
                  <a:lnTo>
                    <a:pt x="666" y="190"/>
                  </a:lnTo>
                  <a:lnTo>
                    <a:pt x="666" y="214"/>
                  </a:lnTo>
                  <a:lnTo>
                    <a:pt x="666" y="238"/>
                  </a:lnTo>
                  <a:lnTo>
                    <a:pt x="662" y="242"/>
                  </a:lnTo>
                  <a:lnTo>
                    <a:pt x="658" y="246"/>
                  </a:lnTo>
                  <a:lnTo>
                    <a:pt x="658" y="275"/>
                  </a:lnTo>
                  <a:lnTo>
                    <a:pt x="662" y="295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66" y="315"/>
                  </a:lnTo>
                  <a:lnTo>
                    <a:pt x="666" y="331"/>
                  </a:lnTo>
                  <a:lnTo>
                    <a:pt x="658" y="347"/>
                  </a:lnTo>
                  <a:lnTo>
                    <a:pt x="654" y="363"/>
                  </a:lnTo>
                  <a:lnTo>
                    <a:pt x="645" y="375"/>
                  </a:lnTo>
                  <a:lnTo>
                    <a:pt x="633" y="384"/>
                  </a:lnTo>
                  <a:lnTo>
                    <a:pt x="633" y="400"/>
                  </a:lnTo>
                  <a:lnTo>
                    <a:pt x="633" y="416"/>
                  </a:lnTo>
                  <a:lnTo>
                    <a:pt x="637" y="420"/>
                  </a:lnTo>
                  <a:lnTo>
                    <a:pt x="637" y="432"/>
                  </a:lnTo>
                  <a:lnTo>
                    <a:pt x="633" y="436"/>
                  </a:lnTo>
                  <a:lnTo>
                    <a:pt x="633" y="444"/>
                  </a:lnTo>
                  <a:lnTo>
                    <a:pt x="629" y="444"/>
                  </a:lnTo>
                  <a:lnTo>
                    <a:pt x="621" y="448"/>
                  </a:lnTo>
                  <a:lnTo>
                    <a:pt x="617" y="464"/>
                  </a:lnTo>
                  <a:lnTo>
                    <a:pt x="609" y="472"/>
                  </a:lnTo>
                  <a:lnTo>
                    <a:pt x="609" y="497"/>
                  </a:lnTo>
                  <a:lnTo>
                    <a:pt x="609" y="513"/>
                  </a:lnTo>
                  <a:lnTo>
                    <a:pt x="621" y="521"/>
                  </a:lnTo>
                  <a:lnTo>
                    <a:pt x="633" y="533"/>
                  </a:lnTo>
                  <a:lnTo>
                    <a:pt x="637" y="537"/>
                  </a:lnTo>
                  <a:lnTo>
                    <a:pt x="650" y="549"/>
                  </a:lnTo>
                  <a:lnTo>
                    <a:pt x="650" y="561"/>
                  </a:lnTo>
                  <a:lnTo>
                    <a:pt x="650" y="581"/>
                  </a:lnTo>
                  <a:lnTo>
                    <a:pt x="658" y="601"/>
                  </a:lnTo>
                  <a:lnTo>
                    <a:pt x="666" y="630"/>
                  </a:lnTo>
                  <a:lnTo>
                    <a:pt x="674" y="650"/>
                  </a:lnTo>
                  <a:lnTo>
                    <a:pt x="682" y="670"/>
                  </a:lnTo>
                  <a:lnTo>
                    <a:pt x="682" y="690"/>
                  </a:lnTo>
                  <a:lnTo>
                    <a:pt x="682" y="706"/>
                  </a:lnTo>
                  <a:lnTo>
                    <a:pt x="670" y="718"/>
                  </a:lnTo>
                  <a:lnTo>
                    <a:pt x="662" y="726"/>
                  </a:lnTo>
                  <a:lnTo>
                    <a:pt x="658" y="731"/>
                  </a:lnTo>
                  <a:lnTo>
                    <a:pt x="662" y="779"/>
                  </a:lnTo>
                  <a:lnTo>
                    <a:pt x="670" y="819"/>
                  </a:lnTo>
                  <a:lnTo>
                    <a:pt x="682" y="835"/>
                  </a:lnTo>
                  <a:lnTo>
                    <a:pt x="698" y="848"/>
                  </a:lnTo>
                  <a:lnTo>
                    <a:pt x="698" y="864"/>
                  </a:lnTo>
                  <a:lnTo>
                    <a:pt x="698" y="880"/>
                  </a:lnTo>
                  <a:lnTo>
                    <a:pt x="702" y="892"/>
                  </a:lnTo>
                  <a:lnTo>
                    <a:pt x="710" y="940"/>
                  </a:lnTo>
                  <a:lnTo>
                    <a:pt x="714" y="960"/>
                  </a:lnTo>
                  <a:lnTo>
                    <a:pt x="722" y="973"/>
                  </a:lnTo>
                  <a:lnTo>
                    <a:pt x="722" y="997"/>
                  </a:lnTo>
                  <a:lnTo>
                    <a:pt x="726" y="1021"/>
                  </a:lnTo>
                  <a:lnTo>
                    <a:pt x="738" y="1025"/>
                  </a:lnTo>
                  <a:lnTo>
                    <a:pt x="742" y="1025"/>
                  </a:lnTo>
                  <a:lnTo>
                    <a:pt x="746" y="1057"/>
                  </a:lnTo>
                  <a:lnTo>
                    <a:pt x="746" y="1077"/>
                  </a:lnTo>
                  <a:lnTo>
                    <a:pt x="750" y="1086"/>
                  </a:lnTo>
                  <a:lnTo>
                    <a:pt x="750" y="1094"/>
                  </a:lnTo>
                  <a:lnTo>
                    <a:pt x="750" y="1110"/>
                  </a:lnTo>
                  <a:lnTo>
                    <a:pt x="750" y="1122"/>
                  </a:lnTo>
                  <a:lnTo>
                    <a:pt x="754" y="1138"/>
                  </a:lnTo>
                  <a:lnTo>
                    <a:pt x="762" y="1158"/>
                  </a:lnTo>
                  <a:lnTo>
                    <a:pt x="762" y="1166"/>
                  </a:lnTo>
                  <a:lnTo>
                    <a:pt x="762" y="1178"/>
                  </a:lnTo>
                  <a:lnTo>
                    <a:pt x="738" y="1194"/>
                  </a:lnTo>
                  <a:lnTo>
                    <a:pt x="714" y="1207"/>
                  </a:lnTo>
                  <a:lnTo>
                    <a:pt x="702" y="1211"/>
                  </a:lnTo>
                  <a:lnTo>
                    <a:pt x="690" y="1215"/>
                  </a:lnTo>
                  <a:lnTo>
                    <a:pt x="686" y="1219"/>
                  </a:lnTo>
                  <a:lnTo>
                    <a:pt x="674" y="1223"/>
                  </a:lnTo>
                  <a:lnTo>
                    <a:pt x="674" y="1231"/>
                  </a:lnTo>
                  <a:lnTo>
                    <a:pt x="670" y="1243"/>
                  </a:lnTo>
                  <a:lnTo>
                    <a:pt x="658" y="1320"/>
                  </a:lnTo>
                  <a:lnTo>
                    <a:pt x="654" y="1336"/>
                  </a:lnTo>
                  <a:lnTo>
                    <a:pt x="650" y="1344"/>
                  </a:lnTo>
                  <a:lnTo>
                    <a:pt x="637" y="1352"/>
                  </a:lnTo>
                  <a:lnTo>
                    <a:pt x="621" y="1352"/>
                  </a:lnTo>
                  <a:lnTo>
                    <a:pt x="609" y="13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00" dirty="0">
                <a:latin typeface="+mn-lt"/>
                <a:cs typeface="+mn-cs"/>
              </a:endParaRPr>
            </a:p>
          </p:txBody>
        </p:sp>
        <p:sp>
          <p:nvSpPr>
            <p:cNvPr id="113" name="Freeform 21"/>
            <p:cNvSpPr>
              <a:spLocks/>
            </p:cNvSpPr>
            <p:nvPr/>
          </p:nvSpPr>
          <p:spPr bwMode="auto">
            <a:xfrm>
              <a:off x="6883484" y="4942100"/>
              <a:ext cx="847725" cy="1123625"/>
            </a:xfrm>
            <a:custGeom>
              <a:avLst/>
              <a:gdLst>
                <a:gd name="T0" fmla="*/ 2147483647 w 944"/>
                <a:gd name="T1" fmla="*/ 2147483647 h 1262"/>
                <a:gd name="T2" fmla="*/ 2147483647 w 944"/>
                <a:gd name="T3" fmla="*/ 2147483647 h 1262"/>
                <a:gd name="T4" fmla="*/ 2147483647 w 944"/>
                <a:gd name="T5" fmla="*/ 2147483647 h 1262"/>
                <a:gd name="T6" fmla="*/ 2147483647 w 944"/>
                <a:gd name="T7" fmla="*/ 2147483647 h 1262"/>
                <a:gd name="T8" fmla="*/ 2147483647 w 944"/>
                <a:gd name="T9" fmla="*/ 2147483647 h 1262"/>
                <a:gd name="T10" fmla="*/ 2147483647 w 944"/>
                <a:gd name="T11" fmla="*/ 2147483647 h 1262"/>
                <a:gd name="T12" fmla="*/ 2147483647 w 944"/>
                <a:gd name="T13" fmla="*/ 2147483647 h 1262"/>
                <a:gd name="T14" fmla="*/ 2147483647 w 944"/>
                <a:gd name="T15" fmla="*/ 2147483647 h 1262"/>
                <a:gd name="T16" fmla="*/ 2147483647 w 944"/>
                <a:gd name="T17" fmla="*/ 2147483647 h 1262"/>
                <a:gd name="T18" fmla="*/ 2147483647 w 944"/>
                <a:gd name="T19" fmla="*/ 2147483647 h 1262"/>
                <a:gd name="T20" fmla="*/ 2147483647 w 944"/>
                <a:gd name="T21" fmla="*/ 2147483647 h 1262"/>
                <a:gd name="T22" fmla="*/ 2147483647 w 944"/>
                <a:gd name="T23" fmla="*/ 2147483647 h 1262"/>
                <a:gd name="T24" fmla="*/ 2147483647 w 944"/>
                <a:gd name="T25" fmla="*/ 2147483647 h 1262"/>
                <a:gd name="T26" fmla="*/ 2147483647 w 944"/>
                <a:gd name="T27" fmla="*/ 2147483647 h 1262"/>
                <a:gd name="T28" fmla="*/ 2147483647 w 944"/>
                <a:gd name="T29" fmla="*/ 2147483647 h 1262"/>
                <a:gd name="T30" fmla="*/ 2147483647 w 944"/>
                <a:gd name="T31" fmla="*/ 2147483647 h 1262"/>
                <a:gd name="T32" fmla="*/ 2147483647 w 944"/>
                <a:gd name="T33" fmla="*/ 2147483647 h 1262"/>
                <a:gd name="T34" fmla="*/ 2147483647 w 944"/>
                <a:gd name="T35" fmla="*/ 2147483647 h 1262"/>
                <a:gd name="T36" fmla="*/ 2147483647 w 944"/>
                <a:gd name="T37" fmla="*/ 2147483647 h 1262"/>
                <a:gd name="T38" fmla="*/ 2147483647 w 944"/>
                <a:gd name="T39" fmla="*/ 2147483647 h 1262"/>
                <a:gd name="T40" fmla="*/ 2147483647 w 944"/>
                <a:gd name="T41" fmla="*/ 2147483647 h 1262"/>
                <a:gd name="T42" fmla="*/ 2147483647 w 944"/>
                <a:gd name="T43" fmla="*/ 2147483647 h 1262"/>
                <a:gd name="T44" fmla="*/ 0 w 944"/>
                <a:gd name="T45" fmla="*/ 2147483647 h 1262"/>
                <a:gd name="T46" fmla="*/ 2147483647 w 944"/>
                <a:gd name="T47" fmla="*/ 2147483647 h 1262"/>
                <a:gd name="T48" fmla="*/ 2147483647 w 944"/>
                <a:gd name="T49" fmla="*/ 2147483647 h 1262"/>
                <a:gd name="T50" fmla="*/ 2147483647 w 944"/>
                <a:gd name="T51" fmla="*/ 2147483647 h 1262"/>
                <a:gd name="T52" fmla="*/ 2147483647 w 944"/>
                <a:gd name="T53" fmla="*/ 2147483647 h 1262"/>
                <a:gd name="T54" fmla="*/ 2147483647 w 944"/>
                <a:gd name="T55" fmla="*/ 2147483647 h 1262"/>
                <a:gd name="T56" fmla="*/ 2147483647 w 944"/>
                <a:gd name="T57" fmla="*/ 2147483647 h 1262"/>
                <a:gd name="T58" fmla="*/ 2147483647 w 944"/>
                <a:gd name="T59" fmla="*/ 2147483647 h 1262"/>
                <a:gd name="T60" fmla="*/ 2147483647 w 944"/>
                <a:gd name="T61" fmla="*/ 2147483647 h 1262"/>
                <a:gd name="T62" fmla="*/ 2147483647 w 944"/>
                <a:gd name="T63" fmla="*/ 2147483647 h 1262"/>
                <a:gd name="T64" fmla="*/ 2147483647 w 944"/>
                <a:gd name="T65" fmla="*/ 2147483647 h 1262"/>
                <a:gd name="T66" fmla="*/ 2147483647 w 944"/>
                <a:gd name="T67" fmla="*/ 2147483647 h 1262"/>
                <a:gd name="T68" fmla="*/ 2147483647 w 944"/>
                <a:gd name="T69" fmla="*/ 2147483647 h 1262"/>
                <a:gd name="T70" fmla="*/ 2147483647 w 944"/>
                <a:gd name="T71" fmla="*/ 2147483647 h 1262"/>
                <a:gd name="T72" fmla="*/ 2147483647 w 944"/>
                <a:gd name="T73" fmla="*/ 2147483647 h 1262"/>
                <a:gd name="T74" fmla="*/ 2147483647 w 944"/>
                <a:gd name="T75" fmla="*/ 2147483647 h 1262"/>
                <a:gd name="T76" fmla="*/ 2147483647 w 944"/>
                <a:gd name="T77" fmla="*/ 2147483647 h 1262"/>
                <a:gd name="T78" fmla="*/ 2147483647 w 944"/>
                <a:gd name="T79" fmla="*/ 2147483647 h 1262"/>
                <a:gd name="T80" fmla="*/ 2147483647 w 944"/>
                <a:gd name="T81" fmla="*/ 2147483647 h 1262"/>
                <a:gd name="T82" fmla="*/ 2147483647 w 944"/>
                <a:gd name="T83" fmla="*/ 2147483647 h 1262"/>
                <a:gd name="T84" fmla="*/ 2147483647 w 944"/>
                <a:gd name="T85" fmla="*/ 2147483647 h 1262"/>
                <a:gd name="T86" fmla="*/ 2147483647 w 944"/>
                <a:gd name="T87" fmla="*/ 2147483647 h 1262"/>
                <a:gd name="T88" fmla="*/ 2147483647 w 944"/>
                <a:gd name="T89" fmla="*/ 2147483647 h 1262"/>
                <a:gd name="T90" fmla="*/ 2147483647 w 944"/>
                <a:gd name="T91" fmla="*/ 2147483647 h 1262"/>
                <a:gd name="T92" fmla="*/ 2147483647 w 944"/>
                <a:gd name="T93" fmla="*/ 2147483647 h 1262"/>
                <a:gd name="T94" fmla="*/ 2147483647 w 944"/>
                <a:gd name="T95" fmla="*/ 2147483647 h 1262"/>
                <a:gd name="T96" fmla="*/ 2147483647 w 944"/>
                <a:gd name="T97" fmla="*/ 2147483647 h 1262"/>
                <a:gd name="T98" fmla="*/ 2147483647 w 944"/>
                <a:gd name="T99" fmla="*/ 2147483647 h 1262"/>
                <a:gd name="T100" fmla="*/ 2147483647 w 944"/>
                <a:gd name="T101" fmla="*/ 2147483647 h 1262"/>
                <a:gd name="T102" fmla="*/ 2147483647 w 944"/>
                <a:gd name="T103" fmla="*/ 2147483647 h 1262"/>
                <a:gd name="T104" fmla="*/ 2147483647 w 944"/>
                <a:gd name="T105" fmla="*/ 2147483647 h 1262"/>
                <a:gd name="T106" fmla="*/ 2147483647 w 944"/>
                <a:gd name="T107" fmla="*/ 2147483647 h 1262"/>
                <a:gd name="T108" fmla="*/ 2147483647 w 944"/>
                <a:gd name="T109" fmla="*/ 2147483647 h 1262"/>
                <a:gd name="T110" fmla="*/ 2147483647 w 944"/>
                <a:gd name="T111" fmla="*/ 2147483647 h 126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944"/>
                <a:gd name="T169" fmla="*/ 0 h 1262"/>
                <a:gd name="T170" fmla="*/ 944 w 944"/>
                <a:gd name="T171" fmla="*/ 1262 h 126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944" h="1262">
                  <a:moveTo>
                    <a:pt x="614" y="1262"/>
                  </a:moveTo>
                  <a:lnTo>
                    <a:pt x="622" y="1238"/>
                  </a:lnTo>
                  <a:lnTo>
                    <a:pt x="626" y="1218"/>
                  </a:lnTo>
                  <a:lnTo>
                    <a:pt x="626" y="1182"/>
                  </a:lnTo>
                  <a:lnTo>
                    <a:pt x="626" y="1145"/>
                  </a:lnTo>
                  <a:lnTo>
                    <a:pt x="622" y="1141"/>
                  </a:lnTo>
                  <a:lnTo>
                    <a:pt x="605" y="1133"/>
                  </a:lnTo>
                  <a:lnTo>
                    <a:pt x="589" y="1133"/>
                  </a:lnTo>
                  <a:lnTo>
                    <a:pt x="581" y="1133"/>
                  </a:lnTo>
                  <a:lnTo>
                    <a:pt x="573" y="1137"/>
                  </a:lnTo>
                  <a:lnTo>
                    <a:pt x="561" y="1141"/>
                  </a:lnTo>
                  <a:lnTo>
                    <a:pt x="545" y="1149"/>
                  </a:lnTo>
                  <a:lnTo>
                    <a:pt x="529" y="1166"/>
                  </a:lnTo>
                  <a:lnTo>
                    <a:pt x="521" y="1166"/>
                  </a:lnTo>
                  <a:lnTo>
                    <a:pt x="513" y="1162"/>
                  </a:lnTo>
                  <a:lnTo>
                    <a:pt x="513" y="1137"/>
                  </a:lnTo>
                  <a:lnTo>
                    <a:pt x="513" y="1121"/>
                  </a:lnTo>
                  <a:lnTo>
                    <a:pt x="505" y="1113"/>
                  </a:lnTo>
                  <a:lnTo>
                    <a:pt x="501" y="1109"/>
                  </a:lnTo>
                  <a:lnTo>
                    <a:pt x="497" y="1105"/>
                  </a:lnTo>
                  <a:lnTo>
                    <a:pt x="484" y="1105"/>
                  </a:lnTo>
                  <a:lnTo>
                    <a:pt x="476" y="1101"/>
                  </a:lnTo>
                  <a:lnTo>
                    <a:pt x="452" y="1085"/>
                  </a:lnTo>
                  <a:lnTo>
                    <a:pt x="432" y="1081"/>
                  </a:lnTo>
                  <a:lnTo>
                    <a:pt x="404" y="1069"/>
                  </a:lnTo>
                  <a:lnTo>
                    <a:pt x="384" y="1057"/>
                  </a:lnTo>
                  <a:lnTo>
                    <a:pt x="367" y="1045"/>
                  </a:lnTo>
                  <a:lnTo>
                    <a:pt x="347" y="1036"/>
                  </a:lnTo>
                  <a:lnTo>
                    <a:pt x="339" y="1036"/>
                  </a:lnTo>
                  <a:lnTo>
                    <a:pt x="327" y="1036"/>
                  </a:lnTo>
                  <a:lnTo>
                    <a:pt x="315" y="1036"/>
                  </a:lnTo>
                  <a:lnTo>
                    <a:pt x="303" y="1045"/>
                  </a:lnTo>
                  <a:lnTo>
                    <a:pt x="295" y="1049"/>
                  </a:lnTo>
                  <a:lnTo>
                    <a:pt x="279" y="1057"/>
                  </a:lnTo>
                  <a:lnTo>
                    <a:pt x="259" y="1065"/>
                  </a:lnTo>
                  <a:lnTo>
                    <a:pt x="255" y="1065"/>
                  </a:lnTo>
                  <a:lnTo>
                    <a:pt x="246" y="1065"/>
                  </a:lnTo>
                  <a:lnTo>
                    <a:pt x="226" y="1049"/>
                  </a:lnTo>
                  <a:lnTo>
                    <a:pt x="214" y="1032"/>
                  </a:lnTo>
                  <a:lnTo>
                    <a:pt x="206" y="1020"/>
                  </a:lnTo>
                  <a:lnTo>
                    <a:pt x="194" y="1012"/>
                  </a:lnTo>
                  <a:lnTo>
                    <a:pt x="174" y="1008"/>
                  </a:lnTo>
                  <a:lnTo>
                    <a:pt x="174" y="1012"/>
                  </a:lnTo>
                  <a:lnTo>
                    <a:pt x="170" y="1016"/>
                  </a:lnTo>
                  <a:lnTo>
                    <a:pt x="170" y="1024"/>
                  </a:lnTo>
                  <a:lnTo>
                    <a:pt x="138" y="1032"/>
                  </a:lnTo>
                  <a:lnTo>
                    <a:pt x="121" y="1036"/>
                  </a:lnTo>
                  <a:lnTo>
                    <a:pt x="109" y="1036"/>
                  </a:lnTo>
                  <a:lnTo>
                    <a:pt x="101" y="1045"/>
                  </a:lnTo>
                  <a:lnTo>
                    <a:pt x="97" y="1032"/>
                  </a:lnTo>
                  <a:lnTo>
                    <a:pt x="97" y="1020"/>
                  </a:lnTo>
                  <a:lnTo>
                    <a:pt x="93" y="1012"/>
                  </a:lnTo>
                  <a:lnTo>
                    <a:pt x="81" y="992"/>
                  </a:lnTo>
                  <a:lnTo>
                    <a:pt x="81" y="984"/>
                  </a:lnTo>
                  <a:lnTo>
                    <a:pt x="81" y="972"/>
                  </a:lnTo>
                  <a:lnTo>
                    <a:pt x="77" y="972"/>
                  </a:lnTo>
                  <a:lnTo>
                    <a:pt x="73" y="972"/>
                  </a:lnTo>
                  <a:lnTo>
                    <a:pt x="73" y="964"/>
                  </a:lnTo>
                  <a:lnTo>
                    <a:pt x="73" y="948"/>
                  </a:lnTo>
                  <a:lnTo>
                    <a:pt x="73" y="944"/>
                  </a:lnTo>
                  <a:lnTo>
                    <a:pt x="77" y="940"/>
                  </a:lnTo>
                  <a:lnTo>
                    <a:pt x="97" y="936"/>
                  </a:lnTo>
                  <a:lnTo>
                    <a:pt x="109" y="928"/>
                  </a:lnTo>
                  <a:lnTo>
                    <a:pt x="125" y="928"/>
                  </a:lnTo>
                  <a:lnTo>
                    <a:pt x="133" y="923"/>
                  </a:lnTo>
                  <a:lnTo>
                    <a:pt x="142" y="919"/>
                  </a:lnTo>
                  <a:lnTo>
                    <a:pt x="154" y="919"/>
                  </a:lnTo>
                  <a:lnTo>
                    <a:pt x="170" y="899"/>
                  </a:lnTo>
                  <a:lnTo>
                    <a:pt x="182" y="887"/>
                  </a:lnTo>
                  <a:lnTo>
                    <a:pt x="186" y="883"/>
                  </a:lnTo>
                  <a:lnTo>
                    <a:pt x="194" y="883"/>
                  </a:lnTo>
                  <a:lnTo>
                    <a:pt x="206" y="863"/>
                  </a:lnTo>
                  <a:lnTo>
                    <a:pt x="210" y="851"/>
                  </a:lnTo>
                  <a:lnTo>
                    <a:pt x="214" y="843"/>
                  </a:lnTo>
                  <a:lnTo>
                    <a:pt x="218" y="827"/>
                  </a:lnTo>
                  <a:lnTo>
                    <a:pt x="226" y="827"/>
                  </a:lnTo>
                  <a:lnTo>
                    <a:pt x="238" y="815"/>
                  </a:lnTo>
                  <a:lnTo>
                    <a:pt x="242" y="794"/>
                  </a:lnTo>
                  <a:lnTo>
                    <a:pt x="250" y="782"/>
                  </a:lnTo>
                  <a:lnTo>
                    <a:pt x="250" y="766"/>
                  </a:lnTo>
                  <a:lnTo>
                    <a:pt x="246" y="746"/>
                  </a:lnTo>
                  <a:lnTo>
                    <a:pt x="246" y="738"/>
                  </a:lnTo>
                  <a:lnTo>
                    <a:pt x="242" y="730"/>
                  </a:lnTo>
                  <a:lnTo>
                    <a:pt x="222" y="722"/>
                  </a:lnTo>
                  <a:lnTo>
                    <a:pt x="206" y="710"/>
                  </a:lnTo>
                  <a:lnTo>
                    <a:pt x="206" y="698"/>
                  </a:lnTo>
                  <a:lnTo>
                    <a:pt x="206" y="685"/>
                  </a:lnTo>
                  <a:lnTo>
                    <a:pt x="218" y="677"/>
                  </a:lnTo>
                  <a:lnTo>
                    <a:pt x="234" y="661"/>
                  </a:lnTo>
                  <a:lnTo>
                    <a:pt x="238" y="661"/>
                  </a:lnTo>
                  <a:lnTo>
                    <a:pt x="246" y="661"/>
                  </a:lnTo>
                  <a:lnTo>
                    <a:pt x="275" y="621"/>
                  </a:lnTo>
                  <a:lnTo>
                    <a:pt x="287" y="605"/>
                  </a:lnTo>
                  <a:lnTo>
                    <a:pt x="303" y="605"/>
                  </a:lnTo>
                  <a:lnTo>
                    <a:pt x="323" y="605"/>
                  </a:lnTo>
                  <a:lnTo>
                    <a:pt x="327" y="601"/>
                  </a:lnTo>
                  <a:lnTo>
                    <a:pt x="331" y="597"/>
                  </a:lnTo>
                  <a:lnTo>
                    <a:pt x="331" y="593"/>
                  </a:lnTo>
                  <a:lnTo>
                    <a:pt x="331" y="585"/>
                  </a:lnTo>
                  <a:lnTo>
                    <a:pt x="327" y="585"/>
                  </a:lnTo>
                  <a:lnTo>
                    <a:pt x="327" y="577"/>
                  </a:lnTo>
                  <a:lnTo>
                    <a:pt x="303" y="564"/>
                  </a:lnTo>
                  <a:lnTo>
                    <a:pt x="295" y="556"/>
                  </a:lnTo>
                  <a:lnTo>
                    <a:pt x="283" y="548"/>
                  </a:lnTo>
                  <a:lnTo>
                    <a:pt x="279" y="548"/>
                  </a:lnTo>
                  <a:lnTo>
                    <a:pt x="271" y="536"/>
                  </a:lnTo>
                  <a:lnTo>
                    <a:pt x="267" y="524"/>
                  </a:lnTo>
                  <a:lnTo>
                    <a:pt x="259" y="512"/>
                  </a:lnTo>
                  <a:lnTo>
                    <a:pt x="259" y="500"/>
                  </a:lnTo>
                  <a:lnTo>
                    <a:pt x="255" y="492"/>
                  </a:lnTo>
                  <a:lnTo>
                    <a:pt x="250" y="484"/>
                  </a:lnTo>
                  <a:lnTo>
                    <a:pt x="250" y="480"/>
                  </a:lnTo>
                  <a:lnTo>
                    <a:pt x="250" y="476"/>
                  </a:lnTo>
                  <a:lnTo>
                    <a:pt x="238" y="472"/>
                  </a:lnTo>
                  <a:lnTo>
                    <a:pt x="222" y="472"/>
                  </a:lnTo>
                  <a:lnTo>
                    <a:pt x="206" y="464"/>
                  </a:lnTo>
                  <a:lnTo>
                    <a:pt x="194" y="455"/>
                  </a:lnTo>
                  <a:lnTo>
                    <a:pt x="182" y="431"/>
                  </a:lnTo>
                  <a:lnTo>
                    <a:pt x="170" y="399"/>
                  </a:lnTo>
                  <a:lnTo>
                    <a:pt x="162" y="383"/>
                  </a:lnTo>
                  <a:lnTo>
                    <a:pt x="162" y="367"/>
                  </a:lnTo>
                  <a:lnTo>
                    <a:pt x="154" y="330"/>
                  </a:lnTo>
                  <a:lnTo>
                    <a:pt x="142" y="318"/>
                  </a:lnTo>
                  <a:lnTo>
                    <a:pt x="121" y="318"/>
                  </a:lnTo>
                  <a:lnTo>
                    <a:pt x="101" y="318"/>
                  </a:lnTo>
                  <a:lnTo>
                    <a:pt x="93" y="322"/>
                  </a:lnTo>
                  <a:lnTo>
                    <a:pt x="77" y="326"/>
                  </a:lnTo>
                  <a:lnTo>
                    <a:pt x="73" y="326"/>
                  </a:lnTo>
                  <a:lnTo>
                    <a:pt x="69" y="326"/>
                  </a:lnTo>
                  <a:lnTo>
                    <a:pt x="49" y="318"/>
                  </a:lnTo>
                  <a:lnTo>
                    <a:pt x="33" y="310"/>
                  </a:lnTo>
                  <a:lnTo>
                    <a:pt x="29" y="278"/>
                  </a:lnTo>
                  <a:lnTo>
                    <a:pt x="25" y="246"/>
                  </a:lnTo>
                  <a:lnTo>
                    <a:pt x="12" y="213"/>
                  </a:lnTo>
                  <a:lnTo>
                    <a:pt x="4" y="189"/>
                  </a:lnTo>
                  <a:lnTo>
                    <a:pt x="4" y="185"/>
                  </a:lnTo>
                  <a:lnTo>
                    <a:pt x="0" y="185"/>
                  </a:lnTo>
                  <a:lnTo>
                    <a:pt x="0" y="177"/>
                  </a:lnTo>
                  <a:lnTo>
                    <a:pt x="0" y="169"/>
                  </a:lnTo>
                  <a:lnTo>
                    <a:pt x="12" y="153"/>
                  </a:lnTo>
                  <a:lnTo>
                    <a:pt x="21" y="145"/>
                  </a:lnTo>
                  <a:lnTo>
                    <a:pt x="25" y="133"/>
                  </a:lnTo>
                  <a:lnTo>
                    <a:pt x="29" y="113"/>
                  </a:lnTo>
                  <a:lnTo>
                    <a:pt x="53" y="109"/>
                  </a:lnTo>
                  <a:lnTo>
                    <a:pt x="73" y="100"/>
                  </a:lnTo>
                  <a:lnTo>
                    <a:pt x="81" y="96"/>
                  </a:lnTo>
                  <a:lnTo>
                    <a:pt x="85" y="88"/>
                  </a:lnTo>
                  <a:lnTo>
                    <a:pt x="97" y="88"/>
                  </a:lnTo>
                  <a:lnTo>
                    <a:pt x="105" y="88"/>
                  </a:lnTo>
                  <a:lnTo>
                    <a:pt x="109" y="84"/>
                  </a:lnTo>
                  <a:lnTo>
                    <a:pt x="121" y="68"/>
                  </a:lnTo>
                  <a:lnTo>
                    <a:pt x="125" y="48"/>
                  </a:lnTo>
                  <a:lnTo>
                    <a:pt x="125" y="24"/>
                  </a:lnTo>
                  <a:lnTo>
                    <a:pt x="133" y="20"/>
                  </a:lnTo>
                  <a:lnTo>
                    <a:pt x="138" y="12"/>
                  </a:lnTo>
                  <a:lnTo>
                    <a:pt x="170" y="4"/>
                  </a:lnTo>
                  <a:lnTo>
                    <a:pt x="194" y="0"/>
                  </a:lnTo>
                  <a:lnTo>
                    <a:pt x="206" y="0"/>
                  </a:lnTo>
                  <a:lnTo>
                    <a:pt x="218" y="0"/>
                  </a:lnTo>
                  <a:lnTo>
                    <a:pt x="222" y="12"/>
                  </a:lnTo>
                  <a:lnTo>
                    <a:pt x="234" y="24"/>
                  </a:lnTo>
                  <a:lnTo>
                    <a:pt x="250" y="48"/>
                  </a:lnTo>
                  <a:lnTo>
                    <a:pt x="275" y="64"/>
                  </a:lnTo>
                  <a:lnTo>
                    <a:pt x="275" y="109"/>
                  </a:lnTo>
                  <a:lnTo>
                    <a:pt x="271" y="149"/>
                  </a:lnTo>
                  <a:lnTo>
                    <a:pt x="267" y="153"/>
                  </a:lnTo>
                  <a:lnTo>
                    <a:pt x="259" y="161"/>
                  </a:lnTo>
                  <a:lnTo>
                    <a:pt x="259" y="173"/>
                  </a:lnTo>
                  <a:lnTo>
                    <a:pt x="255" y="177"/>
                  </a:lnTo>
                  <a:lnTo>
                    <a:pt x="255" y="189"/>
                  </a:lnTo>
                  <a:lnTo>
                    <a:pt x="259" y="201"/>
                  </a:lnTo>
                  <a:lnTo>
                    <a:pt x="259" y="230"/>
                  </a:lnTo>
                  <a:lnTo>
                    <a:pt x="259" y="250"/>
                  </a:lnTo>
                  <a:lnTo>
                    <a:pt x="267" y="266"/>
                  </a:lnTo>
                  <a:lnTo>
                    <a:pt x="271" y="290"/>
                  </a:lnTo>
                  <a:lnTo>
                    <a:pt x="275" y="294"/>
                  </a:lnTo>
                  <a:lnTo>
                    <a:pt x="279" y="310"/>
                  </a:lnTo>
                  <a:lnTo>
                    <a:pt x="283" y="322"/>
                  </a:lnTo>
                  <a:lnTo>
                    <a:pt x="303" y="359"/>
                  </a:lnTo>
                  <a:lnTo>
                    <a:pt x="315" y="367"/>
                  </a:lnTo>
                  <a:lnTo>
                    <a:pt x="319" y="375"/>
                  </a:lnTo>
                  <a:lnTo>
                    <a:pt x="323" y="379"/>
                  </a:lnTo>
                  <a:lnTo>
                    <a:pt x="380" y="379"/>
                  </a:lnTo>
                  <a:lnTo>
                    <a:pt x="436" y="379"/>
                  </a:lnTo>
                  <a:lnTo>
                    <a:pt x="448" y="363"/>
                  </a:lnTo>
                  <a:lnTo>
                    <a:pt x="464" y="343"/>
                  </a:lnTo>
                  <a:lnTo>
                    <a:pt x="464" y="338"/>
                  </a:lnTo>
                  <a:lnTo>
                    <a:pt x="468" y="322"/>
                  </a:lnTo>
                  <a:lnTo>
                    <a:pt x="476" y="306"/>
                  </a:lnTo>
                  <a:lnTo>
                    <a:pt x="493" y="290"/>
                  </a:lnTo>
                  <a:lnTo>
                    <a:pt x="493" y="274"/>
                  </a:lnTo>
                  <a:lnTo>
                    <a:pt x="497" y="250"/>
                  </a:lnTo>
                  <a:lnTo>
                    <a:pt x="513" y="234"/>
                  </a:lnTo>
                  <a:lnTo>
                    <a:pt x="525" y="230"/>
                  </a:lnTo>
                  <a:lnTo>
                    <a:pt x="533" y="230"/>
                  </a:lnTo>
                  <a:lnTo>
                    <a:pt x="549" y="230"/>
                  </a:lnTo>
                  <a:lnTo>
                    <a:pt x="553" y="226"/>
                  </a:lnTo>
                  <a:lnTo>
                    <a:pt x="553" y="217"/>
                  </a:lnTo>
                  <a:lnTo>
                    <a:pt x="557" y="209"/>
                  </a:lnTo>
                  <a:lnTo>
                    <a:pt x="561" y="189"/>
                  </a:lnTo>
                  <a:lnTo>
                    <a:pt x="569" y="181"/>
                  </a:lnTo>
                  <a:lnTo>
                    <a:pt x="577" y="173"/>
                  </a:lnTo>
                  <a:lnTo>
                    <a:pt x="589" y="169"/>
                  </a:lnTo>
                  <a:lnTo>
                    <a:pt x="605" y="161"/>
                  </a:lnTo>
                  <a:lnTo>
                    <a:pt x="614" y="161"/>
                  </a:lnTo>
                  <a:lnTo>
                    <a:pt x="626" y="161"/>
                  </a:lnTo>
                  <a:lnTo>
                    <a:pt x="634" y="169"/>
                  </a:lnTo>
                  <a:lnTo>
                    <a:pt x="638" y="177"/>
                  </a:lnTo>
                  <a:lnTo>
                    <a:pt x="646" y="181"/>
                  </a:lnTo>
                  <a:lnTo>
                    <a:pt x="662" y="185"/>
                  </a:lnTo>
                  <a:lnTo>
                    <a:pt x="694" y="189"/>
                  </a:lnTo>
                  <a:lnTo>
                    <a:pt x="722" y="189"/>
                  </a:lnTo>
                  <a:lnTo>
                    <a:pt x="735" y="185"/>
                  </a:lnTo>
                  <a:lnTo>
                    <a:pt x="751" y="181"/>
                  </a:lnTo>
                  <a:lnTo>
                    <a:pt x="763" y="177"/>
                  </a:lnTo>
                  <a:lnTo>
                    <a:pt x="771" y="173"/>
                  </a:lnTo>
                  <a:lnTo>
                    <a:pt x="819" y="169"/>
                  </a:lnTo>
                  <a:lnTo>
                    <a:pt x="835" y="161"/>
                  </a:lnTo>
                  <a:lnTo>
                    <a:pt x="844" y="153"/>
                  </a:lnTo>
                  <a:lnTo>
                    <a:pt x="852" y="149"/>
                  </a:lnTo>
                  <a:lnTo>
                    <a:pt x="868" y="149"/>
                  </a:lnTo>
                  <a:lnTo>
                    <a:pt x="880" y="149"/>
                  </a:lnTo>
                  <a:lnTo>
                    <a:pt x="884" y="153"/>
                  </a:lnTo>
                  <a:lnTo>
                    <a:pt x="900" y="173"/>
                  </a:lnTo>
                  <a:lnTo>
                    <a:pt x="900" y="185"/>
                  </a:lnTo>
                  <a:lnTo>
                    <a:pt x="900" y="197"/>
                  </a:lnTo>
                  <a:lnTo>
                    <a:pt x="900" y="201"/>
                  </a:lnTo>
                  <a:lnTo>
                    <a:pt x="896" y="209"/>
                  </a:lnTo>
                  <a:lnTo>
                    <a:pt x="872" y="209"/>
                  </a:lnTo>
                  <a:lnTo>
                    <a:pt x="844" y="209"/>
                  </a:lnTo>
                  <a:lnTo>
                    <a:pt x="831" y="217"/>
                  </a:lnTo>
                  <a:lnTo>
                    <a:pt x="815" y="226"/>
                  </a:lnTo>
                  <a:lnTo>
                    <a:pt x="803" y="238"/>
                  </a:lnTo>
                  <a:lnTo>
                    <a:pt x="787" y="250"/>
                  </a:lnTo>
                  <a:lnTo>
                    <a:pt x="791" y="290"/>
                  </a:lnTo>
                  <a:lnTo>
                    <a:pt x="791" y="302"/>
                  </a:lnTo>
                  <a:lnTo>
                    <a:pt x="807" y="302"/>
                  </a:lnTo>
                  <a:lnTo>
                    <a:pt x="819" y="306"/>
                  </a:lnTo>
                  <a:lnTo>
                    <a:pt x="831" y="314"/>
                  </a:lnTo>
                  <a:lnTo>
                    <a:pt x="848" y="318"/>
                  </a:lnTo>
                  <a:lnTo>
                    <a:pt x="852" y="326"/>
                  </a:lnTo>
                  <a:lnTo>
                    <a:pt x="856" y="330"/>
                  </a:lnTo>
                  <a:lnTo>
                    <a:pt x="856" y="343"/>
                  </a:lnTo>
                  <a:lnTo>
                    <a:pt x="856" y="363"/>
                  </a:lnTo>
                  <a:lnTo>
                    <a:pt x="848" y="379"/>
                  </a:lnTo>
                  <a:lnTo>
                    <a:pt x="835" y="391"/>
                  </a:lnTo>
                  <a:lnTo>
                    <a:pt x="835" y="395"/>
                  </a:lnTo>
                  <a:lnTo>
                    <a:pt x="835" y="403"/>
                  </a:lnTo>
                  <a:lnTo>
                    <a:pt x="839" y="415"/>
                  </a:lnTo>
                  <a:lnTo>
                    <a:pt x="848" y="427"/>
                  </a:lnTo>
                  <a:lnTo>
                    <a:pt x="880" y="435"/>
                  </a:lnTo>
                  <a:lnTo>
                    <a:pt x="896" y="451"/>
                  </a:lnTo>
                  <a:lnTo>
                    <a:pt x="916" y="472"/>
                  </a:lnTo>
                  <a:lnTo>
                    <a:pt x="924" y="480"/>
                  </a:lnTo>
                  <a:lnTo>
                    <a:pt x="924" y="512"/>
                  </a:lnTo>
                  <a:lnTo>
                    <a:pt x="920" y="528"/>
                  </a:lnTo>
                  <a:lnTo>
                    <a:pt x="916" y="528"/>
                  </a:lnTo>
                  <a:lnTo>
                    <a:pt x="912" y="532"/>
                  </a:lnTo>
                  <a:lnTo>
                    <a:pt x="884" y="540"/>
                  </a:lnTo>
                  <a:lnTo>
                    <a:pt x="848" y="548"/>
                  </a:lnTo>
                  <a:lnTo>
                    <a:pt x="839" y="556"/>
                  </a:lnTo>
                  <a:lnTo>
                    <a:pt x="827" y="564"/>
                  </a:lnTo>
                  <a:lnTo>
                    <a:pt x="819" y="593"/>
                  </a:lnTo>
                  <a:lnTo>
                    <a:pt x="811" y="621"/>
                  </a:lnTo>
                  <a:lnTo>
                    <a:pt x="791" y="637"/>
                  </a:lnTo>
                  <a:lnTo>
                    <a:pt x="783" y="649"/>
                  </a:lnTo>
                  <a:lnTo>
                    <a:pt x="783" y="661"/>
                  </a:lnTo>
                  <a:lnTo>
                    <a:pt x="787" y="677"/>
                  </a:lnTo>
                  <a:lnTo>
                    <a:pt x="791" y="677"/>
                  </a:lnTo>
                  <a:lnTo>
                    <a:pt x="803" y="681"/>
                  </a:lnTo>
                  <a:lnTo>
                    <a:pt x="807" y="689"/>
                  </a:lnTo>
                  <a:lnTo>
                    <a:pt x="815" y="702"/>
                  </a:lnTo>
                  <a:lnTo>
                    <a:pt x="819" y="714"/>
                  </a:lnTo>
                  <a:lnTo>
                    <a:pt x="827" y="726"/>
                  </a:lnTo>
                  <a:lnTo>
                    <a:pt x="827" y="750"/>
                  </a:lnTo>
                  <a:lnTo>
                    <a:pt x="831" y="782"/>
                  </a:lnTo>
                  <a:lnTo>
                    <a:pt x="839" y="790"/>
                  </a:lnTo>
                  <a:lnTo>
                    <a:pt x="848" y="794"/>
                  </a:lnTo>
                  <a:lnTo>
                    <a:pt x="864" y="819"/>
                  </a:lnTo>
                  <a:lnTo>
                    <a:pt x="880" y="831"/>
                  </a:lnTo>
                  <a:lnTo>
                    <a:pt x="884" y="851"/>
                  </a:lnTo>
                  <a:lnTo>
                    <a:pt x="888" y="867"/>
                  </a:lnTo>
                  <a:lnTo>
                    <a:pt x="892" y="879"/>
                  </a:lnTo>
                  <a:lnTo>
                    <a:pt x="900" y="883"/>
                  </a:lnTo>
                  <a:lnTo>
                    <a:pt x="900" y="903"/>
                  </a:lnTo>
                  <a:lnTo>
                    <a:pt x="900" y="923"/>
                  </a:lnTo>
                  <a:lnTo>
                    <a:pt x="900" y="928"/>
                  </a:lnTo>
                  <a:lnTo>
                    <a:pt x="896" y="932"/>
                  </a:lnTo>
                  <a:lnTo>
                    <a:pt x="892" y="936"/>
                  </a:lnTo>
                  <a:lnTo>
                    <a:pt x="892" y="944"/>
                  </a:lnTo>
                  <a:lnTo>
                    <a:pt x="892" y="964"/>
                  </a:lnTo>
                  <a:lnTo>
                    <a:pt x="892" y="976"/>
                  </a:lnTo>
                  <a:lnTo>
                    <a:pt x="892" y="984"/>
                  </a:lnTo>
                  <a:lnTo>
                    <a:pt x="896" y="992"/>
                  </a:lnTo>
                  <a:lnTo>
                    <a:pt x="900" y="992"/>
                  </a:lnTo>
                  <a:lnTo>
                    <a:pt x="900" y="996"/>
                  </a:lnTo>
                  <a:lnTo>
                    <a:pt x="904" y="1008"/>
                  </a:lnTo>
                  <a:lnTo>
                    <a:pt x="904" y="1016"/>
                  </a:lnTo>
                  <a:lnTo>
                    <a:pt x="920" y="1020"/>
                  </a:lnTo>
                  <a:lnTo>
                    <a:pt x="932" y="1032"/>
                  </a:lnTo>
                  <a:lnTo>
                    <a:pt x="940" y="1036"/>
                  </a:lnTo>
                  <a:lnTo>
                    <a:pt x="944" y="1049"/>
                  </a:lnTo>
                  <a:lnTo>
                    <a:pt x="944" y="1065"/>
                  </a:lnTo>
                  <a:lnTo>
                    <a:pt x="944" y="1085"/>
                  </a:lnTo>
                  <a:lnTo>
                    <a:pt x="932" y="1125"/>
                  </a:lnTo>
                  <a:lnTo>
                    <a:pt x="924" y="1157"/>
                  </a:lnTo>
                  <a:lnTo>
                    <a:pt x="920" y="1149"/>
                  </a:lnTo>
                  <a:lnTo>
                    <a:pt x="916" y="1145"/>
                  </a:lnTo>
                  <a:lnTo>
                    <a:pt x="904" y="1125"/>
                  </a:lnTo>
                  <a:lnTo>
                    <a:pt x="896" y="1101"/>
                  </a:lnTo>
                  <a:lnTo>
                    <a:pt x="888" y="1085"/>
                  </a:lnTo>
                  <a:lnTo>
                    <a:pt x="872" y="1073"/>
                  </a:lnTo>
                  <a:lnTo>
                    <a:pt x="872" y="1061"/>
                  </a:lnTo>
                  <a:lnTo>
                    <a:pt x="864" y="1057"/>
                  </a:lnTo>
                  <a:lnTo>
                    <a:pt x="848" y="1057"/>
                  </a:lnTo>
                  <a:lnTo>
                    <a:pt x="831" y="1057"/>
                  </a:lnTo>
                  <a:lnTo>
                    <a:pt x="831" y="1061"/>
                  </a:lnTo>
                  <a:lnTo>
                    <a:pt x="807" y="1065"/>
                  </a:lnTo>
                  <a:lnTo>
                    <a:pt x="799" y="1073"/>
                  </a:lnTo>
                  <a:lnTo>
                    <a:pt x="791" y="1085"/>
                  </a:lnTo>
                  <a:lnTo>
                    <a:pt x="799" y="1133"/>
                  </a:lnTo>
                  <a:lnTo>
                    <a:pt x="787" y="1137"/>
                  </a:lnTo>
                  <a:lnTo>
                    <a:pt x="779" y="1145"/>
                  </a:lnTo>
                  <a:lnTo>
                    <a:pt x="775" y="1157"/>
                  </a:lnTo>
                  <a:lnTo>
                    <a:pt x="771" y="1162"/>
                  </a:lnTo>
                  <a:lnTo>
                    <a:pt x="771" y="1186"/>
                  </a:lnTo>
                  <a:lnTo>
                    <a:pt x="771" y="1210"/>
                  </a:lnTo>
                  <a:lnTo>
                    <a:pt x="767" y="1210"/>
                  </a:lnTo>
                  <a:lnTo>
                    <a:pt x="767" y="1214"/>
                  </a:lnTo>
                  <a:lnTo>
                    <a:pt x="747" y="1218"/>
                  </a:lnTo>
                  <a:lnTo>
                    <a:pt x="727" y="1222"/>
                  </a:lnTo>
                  <a:lnTo>
                    <a:pt x="718" y="1230"/>
                  </a:lnTo>
                  <a:lnTo>
                    <a:pt x="714" y="1242"/>
                  </a:lnTo>
                  <a:lnTo>
                    <a:pt x="698" y="1250"/>
                  </a:lnTo>
                  <a:lnTo>
                    <a:pt x="678" y="1258"/>
                  </a:lnTo>
                  <a:lnTo>
                    <a:pt x="646" y="1258"/>
                  </a:lnTo>
                  <a:lnTo>
                    <a:pt x="614" y="1262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14" name="Freeform 22"/>
            <p:cNvSpPr>
              <a:spLocks/>
            </p:cNvSpPr>
            <p:nvPr/>
          </p:nvSpPr>
          <p:spPr bwMode="auto">
            <a:xfrm>
              <a:off x="3879934" y="4797797"/>
              <a:ext cx="1274762" cy="1164159"/>
            </a:xfrm>
            <a:custGeom>
              <a:avLst/>
              <a:gdLst>
                <a:gd name="T0" fmla="*/ 2147483647 w 1420"/>
                <a:gd name="T1" fmla="*/ 2147483647 h 1307"/>
                <a:gd name="T2" fmla="*/ 2147483647 w 1420"/>
                <a:gd name="T3" fmla="*/ 2147483647 h 1307"/>
                <a:gd name="T4" fmla="*/ 2147483647 w 1420"/>
                <a:gd name="T5" fmla="*/ 2147483647 h 1307"/>
                <a:gd name="T6" fmla="*/ 2147483647 w 1420"/>
                <a:gd name="T7" fmla="*/ 2147483647 h 1307"/>
                <a:gd name="T8" fmla="*/ 2147483647 w 1420"/>
                <a:gd name="T9" fmla="*/ 2147483647 h 1307"/>
                <a:gd name="T10" fmla="*/ 2147483647 w 1420"/>
                <a:gd name="T11" fmla="*/ 2147483647 h 1307"/>
                <a:gd name="T12" fmla="*/ 2147483647 w 1420"/>
                <a:gd name="T13" fmla="*/ 2147483647 h 1307"/>
                <a:gd name="T14" fmla="*/ 2147483647 w 1420"/>
                <a:gd name="T15" fmla="*/ 2147483647 h 1307"/>
                <a:gd name="T16" fmla="*/ 2147483647 w 1420"/>
                <a:gd name="T17" fmla="*/ 2147483647 h 1307"/>
                <a:gd name="T18" fmla="*/ 0 w 1420"/>
                <a:gd name="T19" fmla="*/ 2147483647 h 1307"/>
                <a:gd name="T20" fmla="*/ 2147483647 w 1420"/>
                <a:gd name="T21" fmla="*/ 2147483647 h 1307"/>
                <a:gd name="T22" fmla="*/ 2147483647 w 1420"/>
                <a:gd name="T23" fmla="*/ 2147483647 h 1307"/>
                <a:gd name="T24" fmla="*/ 2147483647 w 1420"/>
                <a:gd name="T25" fmla="*/ 2147483647 h 1307"/>
                <a:gd name="T26" fmla="*/ 2147483647 w 1420"/>
                <a:gd name="T27" fmla="*/ 2147483647 h 1307"/>
                <a:gd name="T28" fmla="*/ 2147483647 w 1420"/>
                <a:gd name="T29" fmla="*/ 2147483647 h 1307"/>
                <a:gd name="T30" fmla="*/ 2147483647 w 1420"/>
                <a:gd name="T31" fmla="*/ 2147483647 h 1307"/>
                <a:gd name="T32" fmla="*/ 2147483647 w 1420"/>
                <a:gd name="T33" fmla="*/ 2147483647 h 1307"/>
                <a:gd name="T34" fmla="*/ 2147483647 w 1420"/>
                <a:gd name="T35" fmla="*/ 2147483647 h 1307"/>
                <a:gd name="T36" fmla="*/ 2147483647 w 1420"/>
                <a:gd name="T37" fmla="*/ 2147483647 h 1307"/>
                <a:gd name="T38" fmla="*/ 2147483647 w 1420"/>
                <a:gd name="T39" fmla="*/ 2147483647 h 1307"/>
                <a:gd name="T40" fmla="*/ 2147483647 w 1420"/>
                <a:gd name="T41" fmla="*/ 2147483647 h 1307"/>
                <a:gd name="T42" fmla="*/ 2147483647 w 1420"/>
                <a:gd name="T43" fmla="*/ 2147483647 h 1307"/>
                <a:gd name="T44" fmla="*/ 2147483647 w 1420"/>
                <a:gd name="T45" fmla="*/ 2147483647 h 1307"/>
                <a:gd name="T46" fmla="*/ 2147483647 w 1420"/>
                <a:gd name="T47" fmla="*/ 2147483647 h 1307"/>
                <a:gd name="T48" fmla="*/ 2147483647 w 1420"/>
                <a:gd name="T49" fmla="*/ 2147483647 h 1307"/>
                <a:gd name="T50" fmla="*/ 2147483647 w 1420"/>
                <a:gd name="T51" fmla="*/ 2147483647 h 1307"/>
                <a:gd name="T52" fmla="*/ 2147483647 w 1420"/>
                <a:gd name="T53" fmla="*/ 2147483647 h 1307"/>
                <a:gd name="T54" fmla="*/ 2147483647 w 1420"/>
                <a:gd name="T55" fmla="*/ 2147483647 h 1307"/>
                <a:gd name="T56" fmla="*/ 2147483647 w 1420"/>
                <a:gd name="T57" fmla="*/ 2147483647 h 1307"/>
                <a:gd name="T58" fmla="*/ 2147483647 w 1420"/>
                <a:gd name="T59" fmla="*/ 2147483647 h 1307"/>
                <a:gd name="T60" fmla="*/ 2147483647 w 1420"/>
                <a:gd name="T61" fmla="*/ 2147483647 h 1307"/>
                <a:gd name="T62" fmla="*/ 2147483647 w 1420"/>
                <a:gd name="T63" fmla="*/ 2147483647 h 1307"/>
                <a:gd name="T64" fmla="*/ 2147483647 w 1420"/>
                <a:gd name="T65" fmla="*/ 2147483647 h 1307"/>
                <a:gd name="T66" fmla="*/ 2147483647 w 1420"/>
                <a:gd name="T67" fmla="*/ 2147483647 h 1307"/>
                <a:gd name="T68" fmla="*/ 2147483647 w 1420"/>
                <a:gd name="T69" fmla="*/ 2147483647 h 1307"/>
                <a:gd name="T70" fmla="*/ 2147483647 w 1420"/>
                <a:gd name="T71" fmla="*/ 2147483647 h 1307"/>
                <a:gd name="T72" fmla="*/ 2147483647 w 1420"/>
                <a:gd name="T73" fmla="*/ 2147483647 h 1307"/>
                <a:gd name="T74" fmla="*/ 2147483647 w 1420"/>
                <a:gd name="T75" fmla="*/ 2147483647 h 1307"/>
                <a:gd name="T76" fmla="*/ 2147483647 w 1420"/>
                <a:gd name="T77" fmla="*/ 2147483647 h 1307"/>
                <a:gd name="T78" fmla="*/ 2147483647 w 1420"/>
                <a:gd name="T79" fmla="*/ 2147483647 h 1307"/>
                <a:gd name="T80" fmla="*/ 2147483647 w 1420"/>
                <a:gd name="T81" fmla="*/ 2147483647 h 1307"/>
                <a:gd name="T82" fmla="*/ 2147483647 w 1420"/>
                <a:gd name="T83" fmla="*/ 2147483647 h 1307"/>
                <a:gd name="T84" fmla="*/ 2147483647 w 1420"/>
                <a:gd name="T85" fmla="*/ 2147483647 h 1307"/>
                <a:gd name="T86" fmla="*/ 2147483647 w 1420"/>
                <a:gd name="T87" fmla="*/ 2147483647 h 1307"/>
                <a:gd name="T88" fmla="*/ 2147483647 w 1420"/>
                <a:gd name="T89" fmla="*/ 2147483647 h 1307"/>
                <a:gd name="T90" fmla="*/ 2147483647 w 1420"/>
                <a:gd name="T91" fmla="*/ 2147483647 h 1307"/>
                <a:gd name="T92" fmla="*/ 2147483647 w 1420"/>
                <a:gd name="T93" fmla="*/ 2147483647 h 1307"/>
                <a:gd name="T94" fmla="*/ 2147483647 w 1420"/>
                <a:gd name="T95" fmla="*/ 2147483647 h 1307"/>
                <a:gd name="T96" fmla="*/ 2147483647 w 1420"/>
                <a:gd name="T97" fmla="*/ 2147483647 h 1307"/>
                <a:gd name="T98" fmla="*/ 2147483647 w 1420"/>
                <a:gd name="T99" fmla="*/ 2147483647 h 1307"/>
                <a:gd name="T100" fmla="*/ 2147483647 w 1420"/>
                <a:gd name="T101" fmla="*/ 2147483647 h 1307"/>
                <a:gd name="T102" fmla="*/ 2147483647 w 1420"/>
                <a:gd name="T103" fmla="*/ 2147483647 h 1307"/>
                <a:gd name="T104" fmla="*/ 2147483647 w 1420"/>
                <a:gd name="T105" fmla="*/ 2147483647 h 1307"/>
                <a:gd name="T106" fmla="*/ 2147483647 w 1420"/>
                <a:gd name="T107" fmla="*/ 2147483647 h 1307"/>
                <a:gd name="T108" fmla="*/ 2147483647 w 1420"/>
                <a:gd name="T109" fmla="*/ 2147483647 h 1307"/>
                <a:gd name="T110" fmla="*/ 2147483647 w 1420"/>
                <a:gd name="T111" fmla="*/ 2147483647 h 1307"/>
                <a:gd name="T112" fmla="*/ 2147483647 w 1420"/>
                <a:gd name="T113" fmla="*/ 2147483647 h 1307"/>
                <a:gd name="T114" fmla="*/ 2147483647 w 1420"/>
                <a:gd name="T115" fmla="*/ 2147483647 h 1307"/>
                <a:gd name="T116" fmla="*/ 2147483647 w 1420"/>
                <a:gd name="T117" fmla="*/ 2147483647 h 1307"/>
                <a:gd name="T118" fmla="*/ 2147483647 w 1420"/>
                <a:gd name="T119" fmla="*/ 2147483647 h 130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420"/>
                <a:gd name="T181" fmla="*/ 0 h 1307"/>
                <a:gd name="T182" fmla="*/ 1420 w 1420"/>
                <a:gd name="T183" fmla="*/ 1307 h 130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420" h="1307">
                  <a:moveTo>
                    <a:pt x="541" y="1307"/>
                  </a:moveTo>
                  <a:lnTo>
                    <a:pt x="537" y="1303"/>
                  </a:lnTo>
                  <a:lnTo>
                    <a:pt x="529" y="1299"/>
                  </a:lnTo>
                  <a:lnTo>
                    <a:pt x="537" y="1263"/>
                  </a:lnTo>
                  <a:lnTo>
                    <a:pt x="541" y="1239"/>
                  </a:lnTo>
                  <a:lnTo>
                    <a:pt x="541" y="1223"/>
                  </a:lnTo>
                  <a:lnTo>
                    <a:pt x="541" y="1202"/>
                  </a:lnTo>
                  <a:lnTo>
                    <a:pt x="537" y="1186"/>
                  </a:lnTo>
                  <a:lnTo>
                    <a:pt x="529" y="1170"/>
                  </a:lnTo>
                  <a:lnTo>
                    <a:pt x="512" y="1150"/>
                  </a:lnTo>
                  <a:lnTo>
                    <a:pt x="504" y="1146"/>
                  </a:lnTo>
                  <a:lnTo>
                    <a:pt x="496" y="1134"/>
                  </a:lnTo>
                  <a:lnTo>
                    <a:pt x="496" y="1126"/>
                  </a:lnTo>
                  <a:lnTo>
                    <a:pt x="488" y="1122"/>
                  </a:lnTo>
                  <a:lnTo>
                    <a:pt x="484" y="1122"/>
                  </a:lnTo>
                  <a:lnTo>
                    <a:pt x="480" y="1114"/>
                  </a:lnTo>
                  <a:lnTo>
                    <a:pt x="476" y="1110"/>
                  </a:lnTo>
                  <a:lnTo>
                    <a:pt x="456" y="1106"/>
                  </a:lnTo>
                  <a:lnTo>
                    <a:pt x="436" y="1098"/>
                  </a:lnTo>
                  <a:lnTo>
                    <a:pt x="428" y="1085"/>
                  </a:lnTo>
                  <a:lnTo>
                    <a:pt x="424" y="1077"/>
                  </a:lnTo>
                  <a:lnTo>
                    <a:pt x="408" y="1049"/>
                  </a:lnTo>
                  <a:lnTo>
                    <a:pt x="387" y="1009"/>
                  </a:lnTo>
                  <a:lnTo>
                    <a:pt x="375" y="1001"/>
                  </a:lnTo>
                  <a:lnTo>
                    <a:pt x="359" y="993"/>
                  </a:lnTo>
                  <a:lnTo>
                    <a:pt x="355" y="989"/>
                  </a:lnTo>
                  <a:lnTo>
                    <a:pt x="347" y="989"/>
                  </a:lnTo>
                  <a:lnTo>
                    <a:pt x="343" y="981"/>
                  </a:lnTo>
                  <a:lnTo>
                    <a:pt x="339" y="973"/>
                  </a:lnTo>
                  <a:lnTo>
                    <a:pt x="323" y="973"/>
                  </a:lnTo>
                  <a:lnTo>
                    <a:pt x="311" y="973"/>
                  </a:lnTo>
                  <a:lnTo>
                    <a:pt x="278" y="977"/>
                  </a:lnTo>
                  <a:lnTo>
                    <a:pt x="246" y="981"/>
                  </a:lnTo>
                  <a:lnTo>
                    <a:pt x="242" y="989"/>
                  </a:lnTo>
                  <a:lnTo>
                    <a:pt x="238" y="993"/>
                  </a:lnTo>
                  <a:lnTo>
                    <a:pt x="234" y="1009"/>
                  </a:lnTo>
                  <a:lnTo>
                    <a:pt x="234" y="1033"/>
                  </a:lnTo>
                  <a:lnTo>
                    <a:pt x="230" y="1033"/>
                  </a:lnTo>
                  <a:lnTo>
                    <a:pt x="218" y="1037"/>
                  </a:lnTo>
                  <a:lnTo>
                    <a:pt x="202" y="1037"/>
                  </a:lnTo>
                  <a:lnTo>
                    <a:pt x="178" y="1037"/>
                  </a:lnTo>
                  <a:lnTo>
                    <a:pt x="165" y="1029"/>
                  </a:lnTo>
                  <a:lnTo>
                    <a:pt x="153" y="1021"/>
                  </a:lnTo>
                  <a:lnTo>
                    <a:pt x="145" y="1005"/>
                  </a:lnTo>
                  <a:lnTo>
                    <a:pt x="129" y="993"/>
                  </a:lnTo>
                  <a:lnTo>
                    <a:pt x="129" y="985"/>
                  </a:lnTo>
                  <a:lnTo>
                    <a:pt x="129" y="981"/>
                  </a:lnTo>
                  <a:lnTo>
                    <a:pt x="129" y="960"/>
                  </a:lnTo>
                  <a:lnTo>
                    <a:pt x="129" y="944"/>
                  </a:lnTo>
                  <a:lnTo>
                    <a:pt x="121" y="932"/>
                  </a:lnTo>
                  <a:lnTo>
                    <a:pt x="117" y="920"/>
                  </a:lnTo>
                  <a:lnTo>
                    <a:pt x="97" y="908"/>
                  </a:lnTo>
                  <a:lnTo>
                    <a:pt x="77" y="896"/>
                  </a:lnTo>
                  <a:lnTo>
                    <a:pt x="61" y="896"/>
                  </a:lnTo>
                  <a:lnTo>
                    <a:pt x="44" y="892"/>
                  </a:lnTo>
                  <a:lnTo>
                    <a:pt x="32" y="880"/>
                  </a:lnTo>
                  <a:lnTo>
                    <a:pt x="16" y="876"/>
                  </a:lnTo>
                  <a:lnTo>
                    <a:pt x="8" y="851"/>
                  </a:lnTo>
                  <a:lnTo>
                    <a:pt x="0" y="823"/>
                  </a:lnTo>
                  <a:lnTo>
                    <a:pt x="0" y="803"/>
                  </a:lnTo>
                  <a:lnTo>
                    <a:pt x="0" y="787"/>
                  </a:lnTo>
                  <a:lnTo>
                    <a:pt x="8" y="779"/>
                  </a:lnTo>
                  <a:lnTo>
                    <a:pt x="16" y="767"/>
                  </a:lnTo>
                  <a:lnTo>
                    <a:pt x="16" y="743"/>
                  </a:lnTo>
                  <a:lnTo>
                    <a:pt x="16" y="714"/>
                  </a:lnTo>
                  <a:lnTo>
                    <a:pt x="28" y="690"/>
                  </a:lnTo>
                  <a:lnTo>
                    <a:pt x="28" y="674"/>
                  </a:lnTo>
                  <a:lnTo>
                    <a:pt x="20" y="674"/>
                  </a:lnTo>
                  <a:lnTo>
                    <a:pt x="20" y="654"/>
                  </a:lnTo>
                  <a:lnTo>
                    <a:pt x="28" y="634"/>
                  </a:lnTo>
                  <a:lnTo>
                    <a:pt x="32" y="626"/>
                  </a:lnTo>
                  <a:lnTo>
                    <a:pt x="40" y="565"/>
                  </a:lnTo>
                  <a:lnTo>
                    <a:pt x="40" y="537"/>
                  </a:lnTo>
                  <a:lnTo>
                    <a:pt x="44" y="529"/>
                  </a:lnTo>
                  <a:lnTo>
                    <a:pt x="53" y="513"/>
                  </a:lnTo>
                  <a:lnTo>
                    <a:pt x="61" y="513"/>
                  </a:lnTo>
                  <a:lnTo>
                    <a:pt x="77" y="509"/>
                  </a:lnTo>
                  <a:lnTo>
                    <a:pt x="85" y="509"/>
                  </a:lnTo>
                  <a:lnTo>
                    <a:pt x="93" y="505"/>
                  </a:lnTo>
                  <a:lnTo>
                    <a:pt x="117" y="480"/>
                  </a:lnTo>
                  <a:lnTo>
                    <a:pt x="129" y="456"/>
                  </a:lnTo>
                  <a:lnTo>
                    <a:pt x="133" y="448"/>
                  </a:lnTo>
                  <a:lnTo>
                    <a:pt x="141" y="440"/>
                  </a:lnTo>
                  <a:lnTo>
                    <a:pt x="149" y="412"/>
                  </a:lnTo>
                  <a:lnTo>
                    <a:pt x="153" y="379"/>
                  </a:lnTo>
                  <a:lnTo>
                    <a:pt x="153" y="359"/>
                  </a:lnTo>
                  <a:lnTo>
                    <a:pt x="153" y="335"/>
                  </a:lnTo>
                  <a:lnTo>
                    <a:pt x="153" y="331"/>
                  </a:lnTo>
                  <a:lnTo>
                    <a:pt x="149" y="327"/>
                  </a:lnTo>
                  <a:lnTo>
                    <a:pt x="149" y="315"/>
                  </a:lnTo>
                  <a:lnTo>
                    <a:pt x="149" y="299"/>
                  </a:lnTo>
                  <a:lnTo>
                    <a:pt x="153" y="295"/>
                  </a:lnTo>
                  <a:lnTo>
                    <a:pt x="153" y="258"/>
                  </a:lnTo>
                  <a:lnTo>
                    <a:pt x="149" y="222"/>
                  </a:lnTo>
                  <a:lnTo>
                    <a:pt x="153" y="210"/>
                  </a:lnTo>
                  <a:lnTo>
                    <a:pt x="157" y="198"/>
                  </a:lnTo>
                  <a:lnTo>
                    <a:pt x="165" y="186"/>
                  </a:lnTo>
                  <a:lnTo>
                    <a:pt x="170" y="166"/>
                  </a:lnTo>
                  <a:lnTo>
                    <a:pt x="170" y="158"/>
                  </a:lnTo>
                  <a:lnTo>
                    <a:pt x="170" y="154"/>
                  </a:lnTo>
                  <a:lnTo>
                    <a:pt x="165" y="145"/>
                  </a:lnTo>
                  <a:lnTo>
                    <a:pt x="153" y="141"/>
                  </a:lnTo>
                  <a:lnTo>
                    <a:pt x="149" y="129"/>
                  </a:lnTo>
                  <a:lnTo>
                    <a:pt x="149" y="101"/>
                  </a:lnTo>
                  <a:lnTo>
                    <a:pt x="182" y="101"/>
                  </a:lnTo>
                  <a:lnTo>
                    <a:pt x="202" y="109"/>
                  </a:lnTo>
                  <a:lnTo>
                    <a:pt x="214" y="101"/>
                  </a:lnTo>
                  <a:lnTo>
                    <a:pt x="226" y="89"/>
                  </a:lnTo>
                  <a:lnTo>
                    <a:pt x="230" y="85"/>
                  </a:lnTo>
                  <a:lnTo>
                    <a:pt x="234" y="81"/>
                  </a:lnTo>
                  <a:lnTo>
                    <a:pt x="246" y="73"/>
                  </a:lnTo>
                  <a:lnTo>
                    <a:pt x="258" y="65"/>
                  </a:lnTo>
                  <a:lnTo>
                    <a:pt x="274" y="45"/>
                  </a:lnTo>
                  <a:lnTo>
                    <a:pt x="291" y="24"/>
                  </a:lnTo>
                  <a:lnTo>
                    <a:pt x="299" y="16"/>
                  </a:lnTo>
                  <a:lnTo>
                    <a:pt x="315" y="8"/>
                  </a:lnTo>
                  <a:lnTo>
                    <a:pt x="323" y="8"/>
                  </a:lnTo>
                  <a:lnTo>
                    <a:pt x="335" y="4"/>
                  </a:lnTo>
                  <a:lnTo>
                    <a:pt x="399" y="4"/>
                  </a:lnTo>
                  <a:lnTo>
                    <a:pt x="464" y="4"/>
                  </a:lnTo>
                  <a:lnTo>
                    <a:pt x="533" y="0"/>
                  </a:lnTo>
                  <a:lnTo>
                    <a:pt x="601" y="0"/>
                  </a:lnTo>
                  <a:lnTo>
                    <a:pt x="605" y="4"/>
                  </a:lnTo>
                  <a:lnTo>
                    <a:pt x="609" y="4"/>
                  </a:lnTo>
                  <a:lnTo>
                    <a:pt x="637" y="4"/>
                  </a:lnTo>
                  <a:lnTo>
                    <a:pt x="662" y="4"/>
                  </a:lnTo>
                  <a:lnTo>
                    <a:pt x="686" y="8"/>
                  </a:lnTo>
                  <a:lnTo>
                    <a:pt x="710" y="12"/>
                  </a:lnTo>
                  <a:lnTo>
                    <a:pt x="722" y="16"/>
                  </a:lnTo>
                  <a:lnTo>
                    <a:pt x="730" y="24"/>
                  </a:lnTo>
                  <a:lnTo>
                    <a:pt x="746" y="41"/>
                  </a:lnTo>
                  <a:lnTo>
                    <a:pt x="767" y="61"/>
                  </a:lnTo>
                  <a:lnTo>
                    <a:pt x="771" y="61"/>
                  </a:lnTo>
                  <a:lnTo>
                    <a:pt x="779" y="65"/>
                  </a:lnTo>
                  <a:lnTo>
                    <a:pt x="775" y="101"/>
                  </a:lnTo>
                  <a:lnTo>
                    <a:pt x="775" y="117"/>
                  </a:lnTo>
                  <a:lnTo>
                    <a:pt x="767" y="121"/>
                  </a:lnTo>
                  <a:lnTo>
                    <a:pt x="750" y="121"/>
                  </a:lnTo>
                  <a:lnTo>
                    <a:pt x="750" y="101"/>
                  </a:lnTo>
                  <a:lnTo>
                    <a:pt x="746" y="85"/>
                  </a:lnTo>
                  <a:lnTo>
                    <a:pt x="738" y="77"/>
                  </a:lnTo>
                  <a:lnTo>
                    <a:pt x="726" y="65"/>
                  </a:lnTo>
                  <a:lnTo>
                    <a:pt x="714" y="65"/>
                  </a:lnTo>
                  <a:lnTo>
                    <a:pt x="706" y="65"/>
                  </a:lnTo>
                  <a:lnTo>
                    <a:pt x="694" y="77"/>
                  </a:lnTo>
                  <a:lnTo>
                    <a:pt x="686" y="81"/>
                  </a:lnTo>
                  <a:lnTo>
                    <a:pt x="674" y="101"/>
                  </a:lnTo>
                  <a:lnTo>
                    <a:pt x="654" y="117"/>
                  </a:lnTo>
                  <a:lnTo>
                    <a:pt x="654" y="125"/>
                  </a:lnTo>
                  <a:lnTo>
                    <a:pt x="654" y="141"/>
                  </a:lnTo>
                  <a:lnTo>
                    <a:pt x="666" y="149"/>
                  </a:lnTo>
                  <a:lnTo>
                    <a:pt x="682" y="158"/>
                  </a:lnTo>
                  <a:lnTo>
                    <a:pt x="682" y="162"/>
                  </a:lnTo>
                  <a:lnTo>
                    <a:pt x="682" y="166"/>
                  </a:lnTo>
                  <a:lnTo>
                    <a:pt x="678" y="186"/>
                  </a:lnTo>
                  <a:lnTo>
                    <a:pt x="674" y="202"/>
                  </a:lnTo>
                  <a:lnTo>
                    <a:pt x="662" y="206"/>
                  </a:lnTo>
                  <a:lnTo>
                    <a:pt x="654" y="210"/>
                  </a:lnTo>
                  <a:lnTo>
                    <a:pt x="654" y="222"/>
                  </a:lnTo>
                  <a:lnTo>
                    <a:pt x="650" y="230"/>
                  </a:lnTo>
                  <a:lnTo>
                    <a:pt x="633" y="238"/>
                  </a:lnTo>
                  <a:lnTo>
                    <a:pt x="617" y="246"/>
                  </a:lnTo>
                  <a:lnTo>
                    <a:pt x="617" y="254"/>
                  </a:lnTo>
                  <a:lnTo>
                    <a:pt x="617" y="266"/>
                  </a:lnTo>
                  <a:lnTo>
                    <a:pt x="617" y="275"/>
                  </a:lnTo>
                  <a:lnTo>
                    <a:pt x="625" y="279"/>
                  </a:lnTo>
                  <a:lnTo>
                    <a:pt x="637" y="283"/>
                  </a:lnTo>
                  <a:lnTo>
                    <a:pt x="654" y="291"/>
                  </a:lnTo>
                  <a:lnTo>
                    <a:pt x="662" y="299"/>
                  </a:lnTo>
                  <a:lnTo>
                    <a:pt x="674" y="307"/>
                  </a:lnTo>
                  <a:lnTo>
                    <a:pt x="682" y="343"/>
                  </a:lnTo>
                  <a:lnTo>
                    <a:pt x="686" y="379"/>
                  </a:lnTo>
                  <a:lnTo>
                    <a:pt x="690" y="383"/>
                  </a:lnTo>
                  <a:lnTo>
                    <a:pt x="694" y="396"/>
                  </a:lnTo>
                  <a:lnTo>
                    <a:pt x="694" y="412"/>
                  </a:lnTo>
                  <a:lnTo>
                    <a:pt x="694" y="428"/>
                  </a:lnTo>
                  <a:lnTo>
                    <a:pt x="698" y="436"/>
                  </a:lnTo>
                  <a:lnTo>
                    <a:pt x="714" y="448"/>
                  </a:lnTo>
                  <a:lnTo>
                    <a:pt x="726" y="452"/>
                  </a:lnTo>
                  <a:lnTo>
                    <a:pt x="734" y="452"/>
                  </a:lnTo>
                  <a:lnTo>
                    <a:pt x="746" y="472"/>
                  </a:lnTo>
                  <a:lnTo>
                    <a:pt x="750" y="484"/>
                  </a:lnTo>
                  <a:lnTo>
                    <a:pt x="758" y="492"/>
                  </a:lnTo>
                  <a:lnTo>
                    <a:pt x="758" y="496"/>
                  </a:lnTo>
                  <a:lnTo>
                    <a:pt x="771" y="509"/>
                  </a:lnTo>
                  <a:lnTo>
                    <a:pt x="787" y="529"/>
                  </a:lnTo>
                  <a:lnTo>
                    <a:pt x="799" y="533"/>
                  </a:lnTo>
                  <a:lnTo>
                    <a:pt x="811" y="537"/>
                  </a:lnTo>
                  <a:lnTo>
                    <a:pt x="815" y="537"/>
                  </a:lnTo>
                  <a:lnTo>
                    <a:pt x="815" y="541"/>
                  </a:lnTo>
                  <a:lnTo>
                    <a:pt x="827" y="541"/>
                  </a:lnTo>
                  <a:lnTo>
                    <a:pt x="839" y="541"/>
                  </a:lnTo>
                  <a:lnTo>
                    <a:pt x="839" y="537"/>
                  </a:lnTo>
                  <a:lnTo>
                    <a:pt x="839" y="533"/>
                  </a:lnTo>
                  <a:lnTo>
                    <a:pt x="831" y="529"/>
                  </a:lnTo>
                  <a:lnTo>
                    <a:pt x="831" y="521"/>
                  </a:lnTo>
                  <a:lnTo>
                    <a:pt x="827" y="505"/>
                  </a:lnTo>
                  <a:lnTo>
                    <a:pt x="827" y="492"/>
                  </a:lnTo>
                  <a:lnTo>
                    <a:pt x="827" y="476"/>
                  </a:lnTo>
                  <a:lnTo>
                    <a:pt x="831" y="472"/>
                  </a:lnTo>
                  <a:lnTo>
                    <a:pt x="839" y="460"/>
                  </a:lnTo>
                  <a:lnTo>
                    <a:pt x="839" y="456"/>
                  </a:lnTo>
                  <a:lnTo>
                    <a:pt x="863" y="456"/>
                  </a:lnTo>
                  <a:lnTo>
                    <a:pt x="875" y="460"/>
                  </a:lnTo>
                  <a:lnTo>
                    <a:pt x="888" y="476"/>
                  </a:lnTo>
                  <a:lnTo>
                    <a:pt x="888" y="484"/>
                  </a:lnTo>
                  <a:lnTo>
                    <a:pt x="888" y="492"/>
                  </a:lnTo>
                  <a:lnTo>
                    <a:pt x="892" y="496"/>
                  </a:lnTo>
                  <a:lnTo>
                    <a:pt x="896" y="500"/>
                  </a:lnTo>
                  <a:lnTo>
                    <a:pt x="908" y="509"/>
                  </a:lnTo>
                  <a:lnTo>
                    <a:pt x="916" y="513"/>
                  </a:lnTo>
                  <a:lnTo>
                    <a:pt x="920" y="513"/>
                  </a:lnTo>
                  <a:lnTo>
                    <a:pt x="928" y="509"/>
                  </a:lnTo>
                  <a:lnTo>
                    <a:pt x="932" y="496"/>
                  </a:lnTo>
                  <a:lnTo>
                    <a:pt x="936" y="480"/>
                  </a:lnTo>
                  <a:lnTo>
                    <a:pt x="948" y="484"/>
                  </a:lnTo>
                  <a:lnTo>
                    <a:pt x="964" y="484"/>
                  </a:lnTo>
                  <a:lnTo>
                    <a:pt x="968" y="488"/>
                  </a:lnTo>
                  <a:lnTo>
                    <a:pt x="972" y="492"/>
                  </a:lnTo>
                  <a:lnTo>
                    <a:pt x="984" y="509"/>
                  </a:lnTo>
                  <a:lnTo>
                    <a:pt x="988" y="513"/>
                  </a:lnTo>
                  <a:lnTo>
                    <a:pt x="1005" y="521"/>
                  </a:lnTo>
                  <a:lnTo>
                    <a:pt x="1025" y="521"/>
                  </a:lnTo>
                  <a:lnTo>
                    <a:pt x="1053" y="513"/>
                  </a:lnTo>
                  <a:lnTo>
                    <a:pt x="1061" y="509"/>
                  </a:lnTo>
                  <a:lnTo>
                    <a:pt x="1065" y="509"/>
                  </a:lnTo>
                  <a:lnTo>
                    <a:pt x="1077" y="500"/>
                  </a:lnTo>
                  <a:lnTo>
                    <a:pt x="1077" y="492"/>
                  </a:lnTo>
                  <a:lnTo>
                    <a:pt x="1077" y="484"/>
                  </a:lnTo>
                  <a:lnTo>
                    <a:pt x="1089" y="484"/>
                  </a:lnTo>
                  <a:lnTo>
                    <a:pt x="1109" y="480"/>
                  </a:lnTo>
                  <a:lnTo>
                    <a:pt x="1122" y="488"/>
                  </a:lnTo>
                  <a:lnTo>
                    <a:pt x="1130" y="496"/>
                  </a:lnTo>
                  <a:lnTo>
                    <a:pt x="1134" y="496"/>
                  </a:lnTo>
                  <a:lnTo>
                    <a:pt x="1142" y="496"/>
                  </a:lnTo>
                  <a:lnTo>
                    <a:pt x="1146" y="488"/>
                  </a:lnTo>
                  <a:lnTo>
                    <a:pt x="1158" y="480"/>
                  </a:lnTo>
                  <a:lnTo>
                    <a:pt x="1178" y="484"/>
                  </a:lnTo>
                  <a:lnTo>
                    <a:pt x="1186" y="484"/>
                  </a:lnTo>
                  <a:lnTo>
                    <a:pt x="1194" y="492"/>
                  </a:lnTo>
                  <a:lnTo>
                    <a:pt x="1210" y="500"/>
                  </a:lnTo>
                  <a:lnTo>
                    <a:pt x="1222" y="500"/>
                  </a:lnTo>
                  <a:lnTo>
                    <a:pt x="1239" y="500"/>
                  </a:lnTo>
                  <a:lnTo>
                    <a:pt x="1243" y="496"/>
                  </a:lnTo>
                  <a:lnTo>
                    <a:pt x="1255" y="488"/>
                  </a:lnTo>
                  <a:lnTo>
                    <a:pt x="1263" y="480"/>
                  </a:lnTo>
                  <a:lnTo>
                    <a:pt x="1275" y="472"/>
                  </a:lnTo>
                  <a:lnTo>
                    <a:pt x="1291" y="464"/>
                  </a:lnTo>
                  <a:lnTo>
                    <a:pt x="1291" y="460"/>
                  </a:lnTo>
                  <a:lnTo>
                    <a:pt x="1295" y="460"/>
                  </a:lnTo>
                  <a:lnTo>
                    <a:pt x="1303" y="464"/>
                  </a:lnTo>
                  <a:lnTo>
                    <a:pt x="1319" y="492"/>
                  </a:lnTo>
                  <a:lnTo>
                    <a:pt x="1331" y="521"/>
                  </a:lnTo>
                  <a:lnTo>
                    <a:pt x="1339" y="525"/>
                  </a:lnTo>
                  <a:lnTo>
                    <a:pt x="1352" y="533"/>
                  </a:lnTo>
                  <a:lnTo>
                    <a:pt x="1356" y="541"/>
                  </a:lnTo>
                  <a:lnTo>
                    <a:pt x="1360" y="549"/>
                  </a:lnTo>
                  <a:lnTo>
                    <a:pt x="1364" y="553"/>
                  </a:lnTo>
                  <a:lnTo>
                    <a:pt x="1380" y="573"/>
                  </a:lnTo>
                  <a:lnTo>
                    <a:pt x="1396" y="581"/>
                  </a:lnTo>
                  <a:lnTo>
                    <a:pt x="1408" y="589"/>
                  </a:lnTo>
                  <a:lnTo>
                    <a:pt x="1420" y="601"/>
                  </a:lnTo>
                  <a:lnTo>
                    <a:pt x="1420" y="613"/>
                  </a:lnTo>
                  <a:lnTo>
                    <a:pt x="1408" y="634"/>
                  </a:lnTo>
                  <a:lnTo>
                    <a:pt x="1400" y="646"/>
                  </a:lnTo>
                  <a:lnTo>
                    <a:pt x="1396" y="654"/>
                  </a:lnTo>
                  <a:lnTo>
                    <a:pt x="1388" y="658"/>
                  </a:lnTo>
                  <a:lnTo>
                    <a:pt x="1372" y="662"/>
                  </a:lnTo>
                  <a:lnTo>
                    <a:pt x="1360" y="674"/>
                  </a:lnTo>
                  <a:lnTo>
                    <a:pt x="1343" y="686"/>
                  </a:lnTo>
                  <a:lnTo>
                    <a:pt x="1331" y="698"/>
                  </a:lnTo>
                  <a:lnTo>
                    <a:pt x="1331" y="706"/>
                  </a:lnTo>
                  <a:lnTo>
                    <a:pt x="1327" y="714"/>
                  </a:lnTo>
                  <a:lnTo>
                    <a:pt x="1327" y="739"/>
                  </a:lnTo>
                  <a:lnTo>
                    <a:pt x="1323" y="767"/>
                  </a:lnTo>
                  <a:lnTo>
                    <a:pt x="1319" y="775"/>
                  </a:lnTo>
                  <a:lnTo>
                    <a:pt x="1307" y="779"/>
                  </a:lnTo>
                  <a:lnTo>
                    <a:pt x="1275" y="783"/>
                  </a:lnTo>
                  <a:lnTo>
                    <a:pt x="1239" y="791"/>
                  </a:lnTo>
                  <a:lnTo>
                    <a:pt x="1230" y="795"/>
                  </a:lnTo>
                  <a:lnTo>
                    <a:pt x="1226" y="815"/>
                  </a:lnTo>
                  <a:lnTo>
                    <a:pt x="1222" y="831"/>
                  </a:lnTo>
                  <a:lnTo>
                    <a:pt x="1214" y="851"/>
                  </a:lnTo>
                  <a:lnTo>
                    <a:pt x="1214" y="868"/>
                  </a:lnTo>
                  <a:lnTo>
                    <a:pt x="1214" y="872"/>
                  </a:lnTo>
                  <a:lnTo>
                    <a:pt x="1210" y="892"/>
                  </a:lnTo>
                  <a:lnTo>
                    <a:pt x="1210" y="904"/>
                  </a:lnTo>
                  <a:lnTo>
                    <a:pt x="1210" y="920"/>
                  </a:lnTo>
                  <a:lnTo>
                    <a:pt x="1214" y="940"/>
                  </a:lnTo>
                  <a:lnTo>
                    <a:pt x="1222" y="948"/>
                  </a:lnTo>
                  <a:lnTo>
                    <a:pt x="1226" y="956"/>
                  </a:lnTo>
                  <a:lnTo>
                    <a:pt x="1226" y="973"/>
                  </a:lnTo>
                  <a:lnTo>
                    <a:pt x="1226" y="985"/>
                  </a:lnTo>
                  <a:lnTo>
                    <a:pt x="1214" y="993"/>
                  </a:lnTo>
                  <a:lnTo>
                    <a:pt x="1198" y="1009"/>
                  </a:lnTo>
                  <a:lnTo>
                    <a:pt x="1194" y="1013"/>
                  </a:lnTo>
                  <a:lnTo>
                    <a:pt x="1194" y="1025"/>
                  </a:lnTo>
                  <a:lnTo>
                    <a:pt x="1194" y="1061"/>
                  </a:lnTo>
                  <a:lnTo>
                    <a:pt x="1194" y="1090"/>
                  </a:lnTo>
                  <a:lnTo>
                    <a:pt x="1194" y="1098"/>
                  </a:lnTo>
                  <a:lnTo>
                    <a:pt x="1198" y="1098"/>
                  </a:lnTo>
                  <a:lnTo>
                    <a:pt x="1194" y="1122"/>
                  </a:lnTo>
                  <a:lnTo>
                    <a:pt x="1194" y="1150"/>
                  </a:lnTo>
                  <a:lnTo>
                    <a:pt x="1190" y="1154"/>
                  </a:lnTo>
                  <a:lnTo>
                    <a:pt x="1186" y="1162"/>
                  </a:lnTo>
                  <a:lnTo>
                    <a:pt x="1174" y="1174"/>
                  </a:lnTo>
                  <a:lnTo>
                    <a:pt x="1150" y="1198"/>
                  </a:lnTo>
                  <a:lnTo>
                    <a:pt x="1150" y="1207"/>
                  </a:lnTo>
                  <a:lnTo>
                    <a:pt x="1150" y="1211"/>
                  </a:lnTo>
                  <a:lnTo>
                    <a:pt x="1150" y="1219"/>
                  </a:lnTo>
                  <a:lnTo>
                    <a:pt x="1158" y="1219"/>
                  </a:lnTo>
                  <a:lnTo>
                    <a:pt x="1158" y="1231"/>
                  </a:lnTo>
                  <a:lnTo>
                    <a:pt x="1162" y="1239"/>
                  </a:lnTo>
                  <a:lnTo>
                    <a:pt x="1158" y="1251"/>
                  </a:lnTo>
                  <a:lnTo>
                    <a:pt x="1158" y="1263"/>
                  </a:lnTo>
                  <a:lnTo>
                    <a:pt x="1150" y="1263"/>
                  </a:lnTo>
                  <a:lnTo>
                    <a:pt x="1146" y="1271"/>
                  </a:lnTo>
                  <a:lnTo>
                    <a:pt x="1138" y="1271"/>
                  </a:lnTo>
                  <a:lnTo>
                    <a:pt x="1130" y="1275"/>
                  </a:lnTo>
                  <a:lnTo>
                    <a:pt x="1122" y="1271"/>
                  </a:lnTo>
                  <a:lnTo>
                    <a:pt x="1113" y="1271"/>
                  </a:lnTo>
                  <a:lnTo>
                    <a:pt x="1109" y="1259"/>
                  </a:lnTo>
                  <a:lnTo>
                    <a:pt x="1105" y="1251"/>
                  </a:lnTo>
                  <a:lnTo>
                    <a:pt x="1101" y="1247"/>
                  </a:lnTo>
                  <a:lnTo>
                    <a:pt x="1097" y="1239"/>
                  </a:lnTo>
                  <a:lnTo>
                    <a:pt x="1089" y="1223"/>
                  </a:lnTo>
                  <a:lnTo>
                    <a:pt x="1085" y="1202"/>
                  </a:lnTo>
                  <a:lnTo>
                    <a:pt x="1081" y="1198"/>
                  </a:lnTo>
                  <a:lnTo>
                    <a:pt x="1073" y="1190"/>
                  </a:lnTo>
                  <a:lnTo>
                    <a:pt x="1033" y="1194"/>
                  </a:lnTo>
                  <a:lnTo>
                    <a:pt x="980" y="1198"/>
                  </a:lnTo>
                  <a:lnTo>
                    <a:pt x="972" y="1198"/>
                  </a:lnTo>
                  <a:lnTo>
                    <a:pt x="968" y="1198"/>
                  </a:lnTo>
                  <a:lnTo>
                    <a:pt x="948" y="1198"/>
                  </a:lnTo>
                  <a:lnTo>
                    <a:pt x="932" y="1198"/>
                  </a:lnTo>
                  <a:lnTo>
                    <a:pt x="904" y="1194"/>
                  </a:lnTo>
                  <a:lnTo>
                    <a:pt x="880" y="1190"/>
                  </a:lnTo>
                  <a:lnTo>
                    <a:pt x="871" y="1186"/>
                  </a:lnTo>
                  <a:lnTo>
                    <a:pt x="859" y="1174"/>
                  </a:lnTo>
                  <a:lnTo>
                    <a:pt x="831" y="1158"/>
                  </a:lnTo>
                  <a:lnTo>
                    <a:pt x="823" y="1150"/>
                  </a:lnTo>
                  <a:lnTo>
                    <a:pt x="815" y="1150"/>
                  </a:lnTo>
                  <a:lnTo>
                    <a:pt x="811" y="1150"/>
                  </a:lnTo>
                  <a:lnTo>
                    <a:pt x="795" y="1162"/>
                  </a:lnTo>
                  <a:lnTo>
                    <a:pt x="771" y="1170"/>
                  </a:lnTo>
                  <a:lnTo>
                    <a:pt x="758" y="1174"/>
                  </a:lnTo>
                  <a:lnTo>
                    <a:pt x="742" y="1182"/>
                  </a:lnTo>
                  <a:lnTo>
                    <a:pt x="726" y="1190"/>
                  </a:lnTo>
                  <a:lnTo>
                    <a:pt x="706" y="1202"/>
                  </a:lnTo>
                  <a:lnTo>
                    <a:pt x="690" y="1219"/>
                  </a:lnTo>
                  <a:lnTo>
                    <a:pt x="646" y="1255"/>
                  </a:lnTo>
                  <a:lnTo>
                    <a:pt x="629" y="1263"/>
                  </a:lnTo>
                  <a:lnTo>
                    <a:pt x="609" y="1275"/>
                  </a:lnTo>
                  <a:lnTo>
                    <a:pt x="601" y="1279"/>
                  </a:lnTo>
                  <a:lnTo>
                    <a:pt x="593" y="1287"/>
                  </a:lnTo>
                  <a:lnTo>
                    <a:pt x="581" y="1291"/>
                  </a:lnTo>
                  <a:lnTo>
                    <a:pt x="569" y="1295"/>
                  </a:lnTo>
                  <a:lnTo>
                    <a:pt x="565" y="1299"/>
                  </a:lnTo>
                  <a:lnTo>
                    <a:pt x="557" y="1303"/>
                  </a:lnTo>
                  <a:lnTo>
                    <a:pt x="553" y="1307"/>
                  </a:lnTo>
                  <a:lnTo>
                    <a:pt x="549" y="1307"/>
                  </a:lnTo>
                  <a:lnTo>
                    <a:pt x="545" y="1307"/>
                  </a:lnTo>
                  <a:lnTo>
                    <a:pt x="541" y="13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15" name="Freeform 23"/>
            <p:cNvSpPr>
              <a:spLocks/>
            </p:cNvSpPr>
            <p:nvPr/>
          </p:nvSpPr>
          <p:spPr bwMode="auto">
            <a:xfrm>
              <a:off x="5911192" y="4922644"/>
              <a:ext cx="1254125" cy="980942"/>
            </a:xfrm>
            <a:custGeom>
              <a:avLst/>
              <a:gdLst>
                <a:gd name="T0" fmla="*/ 2147483647 w 1396"/>
                <a:gd name="T1" fmla="*/ 2147483647 h 1102"/>
                <a:gd name="T2" fmla="*/ 2147483647 w 1396"/>
                <a:gd name="T3" fmla="*/ 2147483647 h 1102"/>
                <a:gd name="T4" fmla="*/ 2147483647 w 1396"/>
                <a:gd name="T5" fmla="*/ 2147483647 h 1102"/>
                <a:gd name="T6" fmla="*/ 2147483647 w 1396"/>
                <a:gd name="T7" fmla="*/ 2147483647 h 1102"/>
                <a:gd name="T8" fmla="*/ 2147483647 w 1396"/>
                <a:gd name="T9" fmla="*/ 2147483647 h 1102"/>
                <a:gd name="T10" fmla="*/ 2147483647 w 1396"/>
                <a:gd name="T11" fmla="*/ 2147483647 h 1102"/>
                <a:gd name="T12" fmla="*/ 2147483647 w 1396"/>
                <a:gd name="T13" fmla="*/ 2147483647 h 1102"/>
                <a:gd name="T14" fmla="*/ 2147483647 w 1396"/>
                <a:gd name="T15" fmla="*/ 2147483647 h 1102"/>
                <a:gd name="T16" fmla="*/ 2147483647 w 1396"/>
                <a:gd name="T17" fmla="*/ 2147483647 h 1102"/>
                <a:gd name="T18" fmla="*/ 2147483647 w 1396"/>
                <a:gd name="T19" fmla="*/ 2147483647 h 1102"/>
                <a:gd name="T20" fmla="*/ 2147483647 w 1396"/>
                <a:gd name="T21" fmla="*/ 2147483647 h 1102"/>
                <a:gd name="T22" fmla="*/ 2147483647 w 1396"/>
                <a:gd name="T23" fmla="*/ 2147483647 h 1102"/>
                <a:gd name="T24" fmla="*/ 2147483647 w 1396"/>
                <a:gd name="T25" fmla="*/ 2147483647 h 1102"/>
                <a:gd name="T26" fmla="*/ 2147483647 w 1396"/>
                <a:gd name="T27" fmla="*/ 2147483647 h 1102"/>
                <a:gd name="T28" fmla="*/ 2147483647 w 1396"/>
                <a:gd name="T29" fmla="*/ 2147483647 h 1102"/>
                <a:gd name="T30" fmla="*/ 2147483647 w 1396"/>
                <a:gd name="T31" fmla="*/ 2147483647 h 1102"/>
                <a:gd name="T32" fmla="*/ 2147483647 w 1396"/>
                <a:gd name="T33" fmla="*/ 2147483647 h 1102"/>
                <a:gd name="T34" fmla="*/ 2147483647 w 1396"/>
                <a:gd name="T35" fmla="*/ 2147483647 h 1102"/>
                <a:gd name="T36" fmla="*/ 2147483647 w 1396"/>
                <a:gd name="T37" fmla="*/ 2147483647 h 1102"/>
                <a:gd name="T38" fmla="*/ 2147483647 w 1396"/>
                <a:gd name="T39" fmla="*/ 2147483647 h 1102"/>
                <a:gd name="T40" fmla="*/ 2147483647 w 1396"/>
                <a:gd name="T41" fmla="*/ 2147483647 h 1102"/>
                <a:gd name="T42" fmla="*/ 2147483647 w 1396"/>
                <a:gd name="T43" fmla="*/ 2147483647 h 1102"/>
                <a:gd name="T44" fmla="*/ 2147483647 w 1396"/>
                <a:gd name="T45" fmla="*/ 2147483647 h 1102"/>
                <a:gd name="T46" fmla="*/ 2147483647 w 1396"/>
                <a:gd name="T47" fmla="*/ 2147483647 h 1102"/>
                <a:gd name="T48" fmla="*/ 2147483647 w 1396"/>
                <a:gd name="T49" fmla="*/ 2147483647 h 1102"/>
                <a:gd name="T50" fmla="*/ 2147483647 w 1396"/>
                <a:gd name="T51" fmla="*/ 2147483647 h 1102"/>
                <a:gd name="T52" fmla="*/ 2147483647 w 1396"/>
                <a:gd name="T53" fmla="*/ 2147483647 h 1102"/>
                <a:gd name="T54" fmla="*/ 2147483647 w 1396"/>
                <a:gd name="T55" fmla="*/ 2147483647 h 1102"/>
                <a:gd name="T56" fmla="*/ 2147483647 w 1396"/>
                <a:gd name="T57" fmla="*/ 2147483647 h 1102"/>
                <a:gd name="T58" fmla="*/ 2147483647 w 1396"/>
                <a:gd name="T59" fmla="*/ 2147483647 h 1102"/>
                <a:gd name="T60" fmla="*/ 2147483647 w 1396"/>
                <a:gd name="T61" fmla="*/ 2147483647 h 1102"/>
                <a:gd name="T62" fmla="*/ 2147483647 w 1396"/>
                <a:gd name="T63" fmla="*/ 2147483647 h 1102"/>
                <a:gd name="T64" fmla="*/ 2147483647 w 1396"/>
                <a:gd name="T65" fmla="*/ 2147483647 h 1102"/>
                <a:gd name="T66" fmla="*/ 2147483647 w 1396"/>
                <a:gd name="T67" fmla="*/ 2147483647 h 1102"/>
                <a:gd name="T68" fmla="*/ 2147483647 w 1396"/>
                <a:gd name="T69" fmla="*/ 2147483647 h 1102"/>
                <a:gd name="T70" fmla="*/ 2147483647 w 1396"/>
                <a:gd name="T71" fmla="*/ 2147483647 h 1102"/>
                <a:gd name="T72" fmla="*/ 2147483647 w 1396"/>
                <a:gd name="T73" fmla="*/ 2147483647 h 1102"/>
                <a:gd name="T74" fmla="*/ 2147483647 w 1396"/>
                <a:gd name="T75" fmla="*/ 2147483647 h 1102"/>
                <a:gd name="T76" fmla="*/ 2147483647 w 1396"/>
                <a:gd name="T77" fmla="*/ 2147483647 h 1102"/>
                <a:gd name="T78" fmla="*/ 2147483647 w 1396"/>
                <a:gd name="T79" fmla="*/ 2147483647 h 1102"/>
                <a:gd name="T80" fmla="*/ 2147483647 w 1396"/>
                <a:gd name="T81" fmla="*/ 2147483647 h 1102"/>
                <a:gd name="T82" fmla="*/ 2147483647 w 1396"/>
                <a:gd name="T83" fmla="*/ 2147483647 h 1102"/>
                <a:gd name="T84" fmla="*/ 2147483647 w 1396"/>
                <a:gd name="T85" fmla="*/ 2147483647 h 1102"/>
                <a:gd name="T86" fmla="*/ 2147483647 w 1396"/>
                <a:gd name="T87" fmla="*/ 2147483647 h 1102"/>
                <a:gd name="T88" fmla="*/ 2147483647 w 1396"/>
                <a:gd name="T89" fmla="*/ 2147483647 h 1102"/>
                <a:gd name="T90" fmla="*/ 2147483647 w 1396"/>
                <a:gd name="T91" fmla="*/ 2147483647 h 1102"/>
                <a:gd name="T92" fmla="*/ 2147483647 w 1396"/>
                <a:gd name="T93" fmla="*/ 2147483647 h 1102"/>
                <a:gd name="T94" fmla="*/ 2147483647 w 1396"/>
                <a:gd name="T95" fmla="*/ 2147483647 h 1102"/>
                <a:gd name="T96" fmla="*/ 2147483647 w 1396"/>
                <a:gd name="T97" fmla="*/ 2147483647 h 1102"/>
                <a:gd name="T98" fmla="*/ 2147483647 w 1396"/>
                <a:gd name="T99" fmla="*/ 2147483647 h 1102"/>
                <a:gd name="T100" fmla="*/ 2147483647 w 1396"/>
                <a:gd name="T101" fmla="*/ 2147483647 h 1102"/>
                <a:gd name="T102" fmla="*/ 2147483647 w 1396"/>
                <a:gd name="T103" fmla="*/ 2147483647 h 1102"/>
                <a:gd name="T104" fmla="*/ 2147483647 w 1396"/>
                <a:gd name="T105" fmla="*/ 2147483647 h 1102"/>
                <a:gd name="T106" fmla="*/ 2147483647 w 1396"/>
                <a:gd name="T107" fmla="*/ 2147483647 h 1102"/>
                <a:gd name="T108" fmla="*/ 2147483647 w 1396"/>
                <a:gd name="T109" fmla="*/ 2147483647 h 1102"/>
                <a:gd name="T110" fmla="*/ 2147483647 w 1396"/>
                <a:gd name="T111" fmla="*/ 2147483647 h 1102"/>
                <a:gd name="T112" fmla="*/ 2147483647 w 1396"/>
                <a:gd name="T113" fmla="*/ 2147483647 h 1102"/>
                <a:gd name="T114" fmla="*/ 2147483647 w 1396"/>
                <a:gd name="T115" fmla="*/ 2147483647 h 1102"/>
                <a:gd name="T116" fmla="*/ 2147483647 w 1396"/>
                <a:gd name="T117" fmla="*/ 2147483647 h 1102"/>
                <a:gd name="T118" fmla="*/ 2147483647 w 1396"/>
                <a:gd name="T119" fmla="*/ 2147483647 h 110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96"/>
                <a:gd name="T181" fmla="*/ 0 h 1102"/>
                <a:gd name="T182" fmla="*/ 1396 w 1396"/>
                <a:gd name="T183" fmla="*/ 1102 h 110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96" h="1102">
                  <a:moveTo>
                    <a:pt x="512" y="1102"/>
                  </a:moveTo>
                  <a:lnTo>
                    <a:pt x="508" y="1098"/>
                  </a:lnTo>
                  <a:lnTo>
                    <a:pt x="508" y="1070"/>
                  </a:lnTo>
                  <a:lnTo>
                    <a:pt x="508" y="1037"/>
                  </a:lnTo>
                  <a:lnTo>
                    <a:pt x="496" y="1033"/>
                  </a:lnTo>
                  <a:lnTo>
                    <a:pt x="488" y="1025"/>
                  </a:lnTo>
                  <a:lnTo>
                    <a:pt x="488" y="1013"/>
                  </a:lnTo>
                  <a:lnTo>
                    <a:pt x="488" y="997"/>
                  </a:lnTo>
                  <a:lnTo>
                    <a:pt x="492" y="993"/>
                  </a:lnTo>
                  <a:lnTo>
                    <a:pt x="496" y="985"/>
                  </a:lnTo>
                  <a:lnTo>
                    <a:pt x="508" y="981"/>
                  </a:lnTo>
                  <a:lnTo>
                    <a:pt x="517" y="969"/>
                  </a:lnTo>
                  <a:lnTo>
                    <a:pt x="517" y="965"/>
                  </a:lnTo>
                  <a:lnTo>
                    <a:pt x="517" y="957"/>
                  </a:lnTo>
                  <a:lnTo>
                    <a:pt x="512" y="949"/>
                  </a:lnTo>
                  <a:lnTo>
                    <a:pt x="508" y="944"/>
                  </a:lnTo>
                  <a:lnTo>
                    <a:pt x="488" y="936"/>
                  </a:lnTo>
                  <a:lnTo>
                    <a:pt x="468" y="928"/>
                  </a:lnTo>
                  <a:lnTo>
                    <a:pt x="452" y="928"/>
                  </a:lnTo>
                  <a:lnTo>
                    <a:pt x="428" y="928"/>
                  </a:lnTo>
                  <a:lnTo>
                    <a:pt x="420" y="936"/>
                  </a:lnTo>
                  <a:lnTo>
                    <a:pt x="408" y="944"/>
                  </a:lnTo>
                  <a:lnTo>
                    <a:pt x="404" y="949"/>
                  </a:lnTo>
                  <a:lnTo>
                    <a:pt x="400" y="949"/>
                  </a:lnTo>
                  <a:lnTo>
                    <a:pt x="375" y="949"/>
                  </a:lnTo>
                  <a:lnTo>
                    <a:pt x="355" y="949"/>
                  </a:lnTo>
                  <a:lnTo>
                    <a:pt x="347" y="944"/>
                  </a:lnTo>
                  <a:lnTo>
                    <a:pt x="339" y="940"/>
                  </a:lnTo>
                  <a:lnTo>
                    <a:pt x="327" y="944"/>
                  </a:lnTo>
                  <a:lnTo>
                    <a:pt x="315" y="944"/>
                  </a:lnTo>
                  <a:lnTo>
                    <a:pt x="311" y="949"/>
                  </a:lnTo>
                  <a:lnTo>
                    <a:pt x="303" y="957"/>
                  </a:lnTo>
                  <a:lnTo>
                    <a:pt x="299" y="957"/>
                  </a:lnTo>
                  <a:lnTo>
                    <a:pt x="295" y="957"/>
                  </a:lnTo>
                  <a:lnTo>
                    <a:pt x="291" y="953"/>
                  </a:lnTo>
                  <a:lnTo>
                    <a:pt x="291" y="949"/>
                  </a:lnTo>
                  <a:lnTo>
                    <a:pt x="291" y="940"/>
                  </a:lnTo>
                  <a:lnTo>
                    <a:pt x="291" y="932"/>
                  </a:lnTo>
                  <a:lnTo>
                    <a:pt x="295" y="920"/>
                  </a:lnTo>
                  <a:lnTo>
                    <a:pt x="299" y="912"/>
                  </a:lnTo>
                  <a:lnTo>
                    <a:pt x="303" y="908"/>
                  </a:lnTo>
                  <a:lnTo>
                    <a:pt x="311" y="900"/>
                  </a:lnTo>
                  <a:lnTo>
                    <a:pt x="319" y="888"/>
                  </a:lnTo>
                  <a:lnTo>
                    <a:pt x="327" y="868"/>
                  </a:lnTo>
                  <a:lnTo>
                    <a:pt x="327" y="844"/>
                  </a:lnTo>
                  <a:lnTo>
                    <a:pt x="327" y="811"/>
                  </a:lnTo>
                  <a:lnTo>
                    <a:pt x="327" y="803"/>
                  </a:lnTo>
                  <a:lnTo>
                    <a:pt x="323" y="795"/>
                  </a:lnTo>
                  <a:lnTo>
                    <a:pt x="323" y="751"/>
                  </a:lnTo>
                  <a:lnTo>
                    <a:pt x="323" y="710"/>
                  </a:lnTo>
                  <a:lnTo>
                    <a:pt x="315" y="702"/>
                  </a:lnTo>
                  <a:lnTo>
                    <a:pt x="311" y="702"/>
                  </a:lnTo>
                  <a:lnTo>
                    <a:pt x="299" y="698"/>
                  </a:lnTo>
                  <a:lnTo>
                    <a:pt x="291" y="674"/>
                  </a:lnTo>
                  <a:lnTo>
                    <a:pt x="279" y="654"/>
                  </a:lnTo>
                  <a:lnTo>
                    <a:pt x="266" y="650"/>
                  </a:lnTo>
                  <a:lnTo>
                    <a:pt x="250" y="650"/>
                  </a:lnTo>
                  <a:lnTo>
                    <a:pt x="242" y="654"/>
                  </a:lnTo>
                  <a:lnTo>
                    <a:pt x="234" y="666"/>
                  </a:lnTo>
                  <a:lnTo>
                    <a:pt x="226" y="674"/>
                  </a:lnTo>
                  <a:lnTo>
                    <a:pt x="226" y="682"/>
                  </a:lnTo>
                  <a:lnTo>
                    <a:pt x="222" y="686"/>
                  </a:lnTo>
                  <a:lnTo>
                    <a:pt x="222" y="690"/>
                  </a:lnTo>
                  <a:lnTo>
                    <a:pt x="182" y="690"/>
                  </a:lnTo>
                  <a:lnTo>
                    <a:pt x="145" y="690"/>
                  </a:lnTo>
                  <a:lnTo>
                    <a:pt x="125" y="686"/>
                  </a:lnTo>
                  <a:lnTo>
                    <a:pt x="101" y="682"/>
                  </a:lnTo>
                  <a:lnTo>
                    <a:pt x="93" y="674"/>
                  </a:lnTo>
                  <a:lnTo>
                    <a:pt x="81" y="666"/>
                  </a:lnTo>
                  <a:lnTo>
                    <a:pt x="81" y="658"/>
                  </a:lnTo>
                  <a:lnTo>
                    <a:pt x="77" y="650"/>
                  </a:lnTo>
                  <a:lnTo>
                    <a:pt x="73" y="650"/>
                  </a:lnTo>
                  <a:lnTo>
                    <a:pt x="65" y="650"/>
                  </a:lnTo>
                  <a:lnTo>
                    <a:pt x="28" y="650"/>
                  </a:lnTo>
                  <a:lnTo>
                    <a:pt x="0" y="650"/>
                  </a:lnTo>
                  <a:lnTo>
                    <a:pt x="0" y="642"/>
                  </a:lnTo>
                  <a:lnTo>
                    <a:pt x="4" y="634"/>
                  </a:lnTo>
                  <a:lnTo>
                    <a:pt x="12" y="630"/>
                  </a:lnTo>
                  <a:lnTo>
                    <a:pt x="20" y="618"/>
                  </a:lnTo>
                  <a:lnTo>
                    <a:pt x="20" y="614"/>
                  </a:lnTo>
                  <a:lnTo>
                    <a:pt x="20" y="610"/>
                  </a:lnTo>
                  <a:lnTo>
                    <a:pt x="24" y="606"/>
                  </a:lnTo>
                  <a:lnTo>
                    <a:pt x="28" y="602"/>
                  </a:lnTo>
                  <a:lnTo>
                    <a:pt x="40" y="589"/>
                  </a:lnTo>
                  <a:lnTo>
                    <a:pt x="49" y="573"/>
                  </a:lnTo>
                  <a:lnTo>
                    <a:pt x="49" y="569"/>
                  </a:lnTo>
                  <a:lnTo>
                    <a:pt x="53" y="565"/>
                  </a:lnTo>
                  <a:lnTo>
                    <a:pt x="65" y="533"/>
                  </a:lnTo>
                  <a:lnTo>
                    <a:pt x="77" y="497"/>
                  </a:lnTo>
                  <a:lnTo>
                    <a:pt x="81" y="485"/>
                  </a:lnTo>
                  <a:lnTo>
                    <a:pt x="93" y="476"/>
                  </a:lnTo>
                  <a:lnTo>
                    <a:pt x="101" y="468"/>
                  </a:lnTo>
                  <a:lnTo>
                    <a:pt x="129" y="456"/>
                  </a:lnTo>
                  <a:lnTo>
                    <a:pt x="141" y="444"/>
                  </a:lnTo>
                  <a:lnTo>
                    <a:pt x="145" y="412"/>
                  </a:lnTo>
                  <a:lnTo>
                    <a:pt x="153" y="384"/>
                  </a:lnTo>
                  <a:lnTo>
                    <a:pt x="162" y="359"/>
                  </a:lnTo>
                  <a:lnTo>
                    <a:pt x="170" y="335"/>
                  </a:lnTo>
                  <a:lnTo>
                    <a:pt x="182" y="323"/>
                  </a:lnTo>
                  <a:lnTo>
                    <a:pt x="190" y="311"/>
                  </a:lnTo>
                  <a:lnTo>
                    <a:pt x="198" y="311"/>
                  </a:lnTo>
                  <a:lnTo>
                    <a:pt x="206" y="307"/>
                  </a:lnTo>
                  <a:lnTo>
                    <a:pt x="214" y="303"/>
                  </a:lnTo>
                  <a:lnTo>
                    <a:pt x="222" y="295"/>
                  </a:lnTo>
                  <a:lnTo>
                    <a:pt x="226" y="267"/>
                  </a:lnTo>
                  <a:lnTo>
                    <a:pt x="234" y="242"/>
                  </a:lnTo>
                  <a:lnTo>
                    <a:pt x="226" y="230"/>
                  </a:lnTo>
                  <a:lnTo>
                    <a:pt x="222" y="222"/>
                  </a:lnTo>
                  <a:lnTo>
                    <a:pt x="214" y="214"/>
                  </a:lnTo>
                  <a:lnTo>
                    <a:pt x="206" y="202"/>
                  </a:lnTo>
                  <a:lnTo>
                    <a:pt x="206" y="190"/>
                  </a:lnTo>
                  <a:lnTo>
                    <a:pt x="206" y="182"/>
                  </a:lnTo>
                  <a:lnTo>
                    <a:pt x="206" y="174"/>
                  </a:lnTo>
                  <a:lnTo>
                    <a:pt x="210" y="146"/>
                  </a:lnTo>
                  <a:lnTo>
                    <a:pt x="222" y="130"/>
                  </a:lnTo>
                  <a:lnTo>
                    <a:pt x="226" y="117"/>
                  </a:lnTo>
                  <a:lnTo>
                    <a:pt x="234" y="109"/>
                  </a:lnTo>
                  <a:lnTo>
                    <a:pt x="238" y="105"/>
                  </a:lnTo>
                  <a:lnTo>
                    <a:pt x="242" y="85"/>
                  </a:lnTo>
                  <a:lnTo>
                    <a:pt x="250" y="61"/>
                  </a:lnTo>
                  <a:lnTo>
                    <a:pt x="258" y="53"/>
                  </a:lnTo>
                  <a:lnTo>
                    <a:pt x="266" y="41"/>
                  </a:lnTo>
                  <a:lnTo>
                    <a:pt x="266" y="37"/>
                  </a:lnTo>
                  <a:lnTo>
                    <a:pt x="266" y="25"/>
                  </a:lnTo>
                  <a:lnTo>
                    <a:pt x="279" y="13"/>
                  </a:lnTo>
                  <a:lnTo>
                    <a:pt x="291" y="0"/>
                  </a:lnTo>
                  <a:lnTo>
                    <a:pt x="299" y="0"/>
                  </a:lnTo>
                  <a:lnTo>
                    <a:pt x="311" y="0"/>
                  </a:lnTo>
                  <a:lnTo>
                    <a:pt x="323" y="13"/>
                  </a:lnTo>
                  <a:lnTo>
                    <a:pt x="347" y="41"/>
                  </a:lnTo>
                  <a:lnTo>
                    <a:pt x="351" y="57"/>
                  </a:lnTo>
                  <a:lnTo>
                    <a:pt x="363" y="73"/>
                  </a:lnTo>
                  <a:lnTo>
                    <a:pt x="375" y="97"/>
                  </a:lnTo>
                  <a:lnTo>
                    <a:pt x="400" y="138"/>
                  </a:lnTo>
                  <a:lnTo>
                    <a:pt x="420" y="134"/>
                  </a:lnTo>
                  <a:lnTo>
                    <a:pt x="444" y="134"/>
                  </a:lnTo>
                  <a:lnTo>
                    <a:pt x="464" y="117"/>
                  </a:lnTo>
                  <a:lnTo>
                    <a:pt x="480" y="109"/>
                  </a:lnTo>
                  <a:lnTo>
                    <a:pt x="500" y="109"/>
                  </a:lnTo>
                  <a:lnTo>
                    <a:pt x="521" y="109"/>
                  </a:lnTo>
                  <a:lnTo>
                    <a:pt x="557" y="117"/>
                  </a:lnTo>
                  <a:lnTo>
                    <a:pt x="585" y="121"/>
                  </a:lnTo>
                  <a:lnTo>
                    <a:pt x="593" y="138"/>
                  </a:lnTo>
                  <a:lnTo>
                    <a:pt x="593" y="154"/>
                  </a:lnTo>
                  <a:lnTo>
                    <a:pt x="601" y="158"/>
                  </a:lnTo>
                  <a:lnTo>
                    <a:pt x="613" y="170"/>
                  </a:lnTo>
                  <a:lnTo>
                    <a:pt x="621" y="170"/>
                  </a:lnTo>
                  <a:lnTo>
                    <a:pt x="629" y="170"/>
                  </a:lnTo>
                  <a:lnTo>
                    <a:pt x="634" y="166"/>
                  </a:lnTo>
                  <a:lnTo>
                    <a:pt x="638" y="158"/>
                  </a:lnTo>
                  <a:lnTo>
                    <a:pt x="646" y="158"/>
                  </a:lnTo>
                  <a:lnTo>
                    <a:pt x="654" y="158"/>
                  </a:lnTo>
                  <a:lnTo>
                    <a:pt x="654" y="170"/>
                  </a:lnTo>
                  <a:lnTo>
                    <a:pt x="662" y="178"/>
                  </a:lnTo>
                  <a:lnTo>
                    <a:pt x="662" y="190"/>
                  </a:lnTo>
                  <a:lnTo>
                    <a:pt x="674" y="202"/>
                  </a:lnTo>
                  <a:lnTo>
                    <a:pt x="674" y="206"/>
                  </a:lnTo>
                  <a:lnTo>
                    <a:pt x="678" y="214"/>
                  </a:lnTo>
                  <a:lnTo>
                    <a:pt x="678" y="218"/>
                  </a:lnTo>
                  <a:lnTo>
                    <a:pt x="682" y="218"/>
                  </a:lnTo>
                  <a:lnTo>
                    <a:pt x="682" y="242"/>
                  </a:lnTo>
                  <a:lnTo>
                    <a:pt x="682" y="267"/>
                  </a:lnTo>
                  <a:lnTo>
                    <a:pt x="686" y="271"/>
                  </a:lnTo>
                  <a:lnTo>
                    <a:pt x="686" y="275"/>
                  </a:lnTo>
                  <a:lnTo>
                    <a:pt x="706" y="279"/>
                  </a:lnTo>
                  <a:lnTo>
                    <a:pt x="726" y="287"/>
                  </a:lnTo>
                  <a:lnTo>
                    <a:pt x="730" y="287"/>
                  </a:lnTo>
                  <a:lnTo>
                    <a:pt x="738" y="295"/>
                  </a:lnTo>
                  <a:lnTo>
                    <a:pt x="738" y="287"/>
                  </a:lnTo>
                  <a:lnTo>
                    <a:pt x="738" y="271"/>
                  </a:lnTo>
                  <a:lnTo>
                    <a:pt x="742" y="271"/>
                  </a:lnTo>
                  <a:lnTo>
                    <a:pt x="751" y="271"/>
                  </a:lnTo>
                  <a:lnTo>
                    <a:pt x="759" y="263"/>
                  </a:lnTo>
                  <a:lnTo>
                    <a:pt x="767" y="259"/>
                  </a:lnTo>
                  <a:lnTo>
                    <a:pt x="767" y="255"/>
                  </a:lnTo>
                  <a:lnTo>
                    <a:pt x="771" y="242"/>
                  </a:lnTo>
                  <a:lnTo>
                    <a:pt x="791" y="230"/>
                  </a:lnTo>
                  <a:lnTo>
                    <a:pt x="799" y="226"/>
                  </a:lnTo>
                  <a:lnTo>
                    <a:pt x="819" y="222"/>
                  </a:lnTo>
                  <a:lnTo>
                    <a:pt x="839" y="222"/>
                  </a:lnTo>
                  <a:lnTo>
                    <a:pt x="847" y="218"/>
                  </a:lnTo>
                  <a:lnTo>
                    <a:pt x="855" y="206"/>
                  </a:lnTo>
                  <a:lnTo>
                    <a:pt x="859" y="202"/>
                  </a:lnTo>
                  <a:lnTo>
                    <a:pt x="859" y="190"/>
                  </a:lnTo>
                  <a:lnTo>
                    <a:pt x="859" y="174"/>
                  </a:lnTo>
                  <a:lnTo>
                    <a:pt x="872" y="158"/>
                  </a:lnTo>
                  <a:lnTo>
                    <a:pt x="884" y="154"/>
                  </a:lnTo>
                  <a:lnTo>
                    <a:pt x="896" y="146"/>
                  </a:lnTo>
                  <a:lnTo>
                    <a:pt x="904" y="146"/>
                  </a:lnTo>
                  <a:lnTo>
                    <a:pt x="920" y="146"/>
                  </a:lnTo>
                  <a:lnTo>
                    <a:pt x="924" y="154"/>
                  </a:lnTo>
                  <a:lnTo>
                    <a:pt x="944" y="170"/>
                  </a:lnTo>
                  <a:lnTo>
                    <a:pt x="956" y="174"/>
                  </a:lnTo>
                  <a:lnTo>
                    <a:pt x="964" y="174"/>
                  </a:lnTo>
                  <a:lnTo>
                    <a:pt x="972" y="178"/>
                  </a:lnTo>
                  <a:lnTo>
                    <a:pt x="976" y="178"/>
                  </a:lnTo>
                  <a:lnTo>
                    <a:pt x="976" y="194"/>
                  </a:lnTo>
                  <a:lnTo>
                    <a:pt x="976" y="206"/>
                  </a:lnTo>
                  <a:lnTo>
                    <a:pt x="1009" y="206"/>
                  </a:lnTo>
                  <a:lnTo>
                    <a:pt x="1037" y="206"/>
                  </a:lnTo>
                  <a:lnTo>
                    <a:pt x="1049" y="214"/>
                  </a:lnTo>
                  <a:lnTo>
                    <a:pt x="1073" y="218"/>
                  </a:lnTo>
                  <a:lnTo>
                    <a:pt x="1077" y="222"/>
                  </a:lnTo>
                  <a:lnTo>
                    <a:pt x="1077" y="238"/>
                  </a:lnTo>
                  <a:lnTo>
                    <a:pt x="1077" y="251"/>
                  </a:lnTo>
                  <a:lnTo>
                    <a:pt x="1085" y="255"/>
                  </a:lnTo>
                  <a:lnTo>
                    <a:pt x="1089" y="267"/>
                  </a:lnTo>
                  <a:lnTo>
                    <a:pt x="1093" y="291"/>
                  </a:lnTo>
                  <a:lnTo>
                    <a:pt x="1097" y="307"/>
                  </a:lnTo>
                  <a:lnTo>
                    <a:pt x="1097" y="319"/>
                  </a:lnTo>
                  <a:lnTo>
                    <a:pt x="1097" y="331"/>
                  </a:lnTo>
                  <a:lnTo>
                    <a:pt x="1101" y="339"/>
                  </a:lnTo>
                  <a:lnTo>
                    <a:pt x="1106" y="343"/>
                  </a:lnTo>
                  <a:lnTo>
                    <a:pt x="1126" y="355"/>
                  </a:lnTo>
                  <a:lnTo>
                    <a:pt x="1138" y="364"/>
                  </a:lnTo>
                  <a:lnTo>
                    <a:pt x="1178" y="359"/>
                  </a:lnTo>
                  <a:lnTo>
                    <a:pt x="1218" y="359"/>
                  </a:lnTo>
                  <a:lnTo>
                    <a:pt x="1231" y="380"/>
                  </a:lnTo>
                  <a:lnTo>
                    <a:pt x="1239" y="396"/>
                  </a:lnTo>
                  <a:lnTo>
                    <a:pt x="1239" y="400"/>
                  </a:lnTo>
                  <a:lnTo>
                    <a:pt x="1235" y="404"/>
                  </a:lnTo>
                  <a:lnTo>
                    <a:pt x="1235" y="412"/>
                  </a:lnTo>
                  <a:lnTo>
                    <a:pt x="1235" y="444"/>
                  </a:lnTo>
                  <a:lnTo>
                    <a:pt x="1243" y="444"/>
                  </a:lnTo>
                  <a:lnTo>
                    <a:pt x="1255" y="444"/>
                  </a:lnTo>
                  <a:lnTo>
                    <a:pt x="1247" y="456"/>
                  </a:lnTo>
                  <a:lnTo>
                    <a:pt x="1247" y="468"/>
                  </a:lnTo>
                  <a:lnTo>
                    <a:pt x="1263" y="497"/>
                  </a:lnTo>
                  <a:lnTo>
                    <a:pt x="1275" y="521"/>
                  </a:lnTo>
                  <a:lnTo>
                    <a:pt x="1283" y="521"/>
                  </a:lnTo>
                  <a:lnTo>
                    <a:pt x="1287" y="525"/>
                  </a:lnTo>
                  <a:lnTo>
                    <a:pt x="1307" y="525"/>
                  </a:lnTo>
                  <a:lnTo>
                    <a:pt x="1331" y="533"/>
                  </a:lnTo>
                  <a:lnTo>
                    <a:pt x="1335" y="541"/>
                  </a:lnTo>
                  <a:lnTo>
                    <a:pt x="1335" y="553"/>
                  </a:lnTo>
                  <a:lnTo>
                    <a:pt x="1335" y="565"/>
                  </a:lnTo>
                  <a:lnTo>
                    <a:pt x="1364" y="585"/>
                  </a:lnTo>
                  <a:lnTo>
                    <a:pt x="1380" y="602"/>
                  </a:lnTo>
                  <a:lnTo>
                    <a:pt x="1388" y="606"/>
                  </a:lnTo>
                  <a:lnTo>
                    <a:pt x="1396" y="610"/>
                  </a:lnTo>
                  <a:lnTo>
                    <a:pt x="1388" y="610"/>
                  </a:lnTo>
                  <a:lnTo>
                    <a:pt x="1388" y="614"/>
                  </a:lnTo>
                  <a:lnTo>
                    <a:pt x="1376" y="614"/>
                  </a:lnTo>
                  <a:lnTo>
                    <a:pt x="1368" y="618"/>
                  </a:lnTo>
                  <a:lnTo>
                    <a:pt x="1360" y="622"/>
                  </a:lnTo>
                  <a:lnTo>
                    <a:pt x="1344" y="634"/>
                  </a:lnTo>
                  <a:lnTo>
                    <a:pt x="1335" y="642"/>
                  </a:lnTo>
                  <a:lnTo>
                    <a:pt x="1335" y="646"/>
                  </a:lnTo>
                  <a:lnTo>
                    <a:pt x="1311" y="662"/>
                  </a:lnTo>
                  <a:lnTo>
                    <a:pt x="1283" y="682"/>
                  </a:lnTo>
                  <a:lnTo>
                    <a:pt x="1275" y="694"/>
                  </a:lnTo>
                  <a:lnTo>
                    <a:pt x="1267" y="702"/>
                  </a:lnTo>
                  <a:lnTo>
                    <a:pt x="1267" y="715"/>
                  </a:lnTo>
                  <a:lnTo>
                    <a:pt x="1267" y="727"/>
                  </a:lnTo>
                  <a:lnTo>
                    <a:pt x="1271" y="735"/>
                  </a:lnTo>
                  <a:lnTo>
                    <a:pt x="1275" y="747"/>
                  </a:lnTo>
                  <a:lnTo>
                    <a:pt x="1291" y="747"/>
                  </a:lnTo>
                  <a:lnTo>
                    <a:pt x="1311" y="751"/>
                  </a:lnTo>
                  <a:lnTo>
                    <a:pt x="1315" y="767"/>
                  </a:lnTo>
                  <a:lnTo>
                    <a:pt x="1323" y="779"/>
                  </a:lnTo>
                  <a:lnTo>
                    <a:pt x="1323" y="787"/>
                  </a:lnTo>
                  <a:lnTo>
                    <a:pt x="1323" y="795"/>
                  </a:lnTo>
                  <a:lnTo>
                    <a:pt x="1319" y="799"/>
                  </a:lnTo>
                  <a:lnTo>
                    <a:pt x="1315" y="811"/>
                  </a:lnTo>
                  <a:lnTo>
                    <a:pt x="1311" y="819"/>
                  </a:lnTo>
                  <a:lnTo>
                    <a:pt x="1299" y="832"/>
                  </a:lnTo>
                  <a:lnTo>
                    <a:pt x="1287" y="840"/>
                  </a:lnTo>
                  <a:lnTo>
                    <a:pt x="1283" y="852"/>
                  </a:lnTo>
                  <a:lnTo>
                    <a:pt x="1271" y="880"/>
                  </a:lnTo>
                  <a:lnTo>
                    <a:pt x="1263" y="888"/>
                  </a:lnTo>
                  <a:lnTo>
                    <a:pt x="1247" y="896"/>
                  </a:lnTo>
                  <a:lnTo>
                    <a:pt x="1239" y="908"/>
                  </a:lnTo>
                  <a:lnTo>
                    <a:pt x="1222" y="920"/>
                  </a:lnTo>
                  <a:lnTo>
                    <a:pt x="1210" y="928"/>
                  </a:lnTo>
                  <a:lnTo>
                    <a:pt x="1194" y="936"/>
                  </a:lnTo>
                  <a:lnTo>
                    <a:pt x="1178" y="936"/>
                  </a:lnTo>
                  <a:lnTo>
                    <a:pt x="1158" y="936"/>
                  </a:lnTo>
                  <a:lnTo>
                    <a:pt x="1154" y="936"/>
                  </a:lnTo>
                  <a:lnTo>
                    <a:pt x="1150" y="932"/>
                  </a:lnTo>
                  <a:lnTo>
                    <a:pt x="1142" y="920"/>
                  </a:lnTo>
                  <a:lnTo>
                    <a:pt x="1142" y="912"/>
                  </a:lnTo>
                  <a:lnTo>
                    <a:pt x="1138" y="892"/>
                  </a:lnTo>
                  <a:lnTo>
                    <a:pt x="1138" y="868"/>
                  </a:lnTo>
                  <a:lnTo>
                    <a:pt x="1138" y="860"/>
                  </a:lnTo>
                  <a:lnTo>
                    <a:pt x="1130" y="856"/>
                  </a:lnTo>
                  <a:lnTo>
                    <a:pt x="1126" y="856"/>
                  </a:lnTo>
                  <a:lnTo>
                    <a:pt x="1122" y="856"/>
                  </a:lnTo>
                  <a:lnTo>
                    <a:pt x="1118" y="848"/>
                  </a:lnTo>
                  <a:lnTo>
                    <a:pt x="1118" y="840"/>
                  </a:lnTo>
                  <a:lnTo>
                    <a:pt x="1097" y="836"/>
                  </a:lnTo>
                  <a:lnTo>
                    <a:pt x="1077" y="832"/>
                  </a:lnTo>
                  <a:lnTo>
                    <a:pt x="1045" y="832"/>
                  </a:lnTo>
                  <a:lnTo>
                    <a:pt x="1017" y="836"/>
                  </a:lnTo>
                  <a:lnTo>
                    <a:pt x="1005" y="848"/>
                  </a:lnTo>
                  <a:lnTo>
                    <a:pt x="976" y="860"/>
                  </a:lnTo>
                  <a:lnTo>
                    <a:pt x="976" y="868"/>
                  </a:lnTo>
                  <a:lnTo>
                    <a:pt x="964" y="880"/>
                  </a:lnTo>
                  <a:lnTo>
                    <a:pt x="964" y="884"/>
                  </a:lnTo>
                  <a:lnTo>
                    <a:pt x="972" y="888"/>
                  </a:lnTo>
                  <a:lnTo>
                    <a:pt x="964" y="892"/>
                  </a:lnTo>
                  <a:lnTo>
                    <a:pt x="972" y="916"/>
                  </a:lnTo>
                  <a:lnTo>
                    <a:pt x="976" y="949"/>
                  </a:lnTo>
                  <a:lnTo>
                    <a:pt x="972" y="965"/>
                  </a:lnTo>
                  <a:lnTo>
                    <a:pt x="964" y="965"/>
                  </a:lnTo>
                  <a:lnTo>
                    <a:pt x="956" y="957"/>
                  </a:lnTo>
                  <a:lnTo>
                    <a:pt x="944" y="949"/>
                  </a:lnTo>
                  <a:lnTo>
                    <a:pt x="944" y="940"/>
                  </a:lnTo>
                  <a:lnTo>
                    <a:pt x="944" y="928"/>
                  </a:lnTo>
                  <a:lnTo>
                    <a:pt x="944" y="920"/>
                  </a:lnTo>
                  <a:lnTo>
                    <a:pt x="940" y="912"/>
                  </a:lnTo>
                  <a:lnTo>
                    <a:pt x="932" y="904"/>
                  </a:lnTo>
                  <a:lnTo>
                    <a:pt x="928" y="896"/>
                  </a:lnTo>
                  <a:lnTo>
                    <a:pt x="924" y="888"/>
                  </a:lnTo>
                  <a:lnTo>
                    <a:pt x="924" y="872"/>
                  </a:lnTo>
                  <a:lnTo>
                    <a:pt x="920" y="868"/>
                  </a:lnTo>
                  <a:lnTo>
                    <a:pt x="912" y="864"/>
                  </a:lnTo>
                  <a:lnTo>
                    <a:pt x="904" y="864"/>
                  </a:lnTo>
                  <a:lnTo>
                    <a:pt x="892" y="864"/>
                  </a:lnTo>
                  <a:lnTo>
                    <a:pt x="884" y="868"/>
                  </a:lnTo>
                  <a:lnTo>
                    <a:pt x="876" y="872"/>
                  </a:lnTo>
                  <a:lnTo>
                    <a:pt x="872" y="880"/>
                  </a:lnTo>
                  <a:lnTo>
                    <a:pt x="867" y="884"/>
                  </a:lnTo>
                  <a:lnTo>
                    <a:pt x="859" y="888"/>
                  </a:lnTo>
                  <a:lnTo>
                    <a:pt x="843" y="888"/>
                  </a:lnTo>
                  <a:lnTo>
                    <a:pt x="839" y="888"/>
                  </a:lnTo>
                  <a:lnTo>
                    <a:pt x="827" y="884"/>
                  </a:lnTo>
                  <a:lnTo>
                    <a:pt x="815" y="868"/>
                  </a:lnTo>
                  <a:lnTo>
                    <a:pt x="795" y="856"/>
                  </a:lnTo>
                  <a:lnTo>
                    <a:pt x="787" y="856"/>
                  </a:lnTo>
                  <a:lnTo>
                    <a:pt x="771" y="860"/>
                  </a:lnTo>
                  <a:lnTo>
                    <a:pt x="751" y="880"/>
                  </a:lnTo>
                  <a:lnTo>
                    <a:pt x="738" y="896"/>
                  </a:lnTo>
                  <a:lnTo>
                    <a:pt x="726" y="900"/>
                  </a:lnTo>
                  <a:lnTo>
                    <a:pt x="710" y="900"/>
                  </a:lnTo>
                  <a:lnTo>
                    <a:pt x="710" y="920"/>
                  </a:lnTo>
                  <a:lnTo>
                    <a:pt x="706" y="940"/>
                  </a:lnTo>
                  <a:lnTo>
                    <a:pt x="698" y="953"/>
                  </a:lnTo>
                  <a:lnTo>
                    <a:pt x="690" y="965"/>
                  </a:lnTo>
                  <a:lnTo>
                    <a:pt x="690" y="969"/>
                  </a:lnTo>
                  <a:lnTo>
                    <a:pt x="686" y="977"/>
                  </a:lnTo>
                  <a:lnTo>
                    <a:pt x="682" y="981"/>
                  </a:lnTo>
                  <a:lnTo>
                    <a:pt x="682" y="989"/>
                  </a:lnTo>
                  <a:lnTo>
                    <a:pt x="666" y="997"/>
                  </a:lnTo>
                  <a:lnTo>
                    <a:pt x="654" y="1005"/>
                  </a:lnTo>
                  <a:lnTo>
                    <a:pt x="629" y="1005"/>
                  </a:lnTo>
                  <a:lnTo>
                    <a:pt x="613" y="1005"/>
                  </a:lnTo>
                  <a:lnTo>
                    <a:pt x="601" y="997"/>
                  </a:lnTo>
                  <a:lnTo>
                    <a:pt x="593" y="989"/>
                  </a:lnTo>
                  <a:lnTo>
                    <a:pt x="577" y="989"/>
                  </a:lnTo>
                  <a:lnTo>
                    <a:pt x="565" y="993"/>
                  </a:lnTo>
                  <a:lnTo>
                    <a:pt x="561" y="993"/>
                  </a:lnTo>
                  <a:lnTo>
                    <a:pt x="557" y="997"/>
                  </a:lnTo>
                  <a:lnTo>
                    <a:pt x="557" y="1001"/>
                  </a:lnTo>
                  <a:lnTo>
                    <a:pt x="549" y="1013"/>
                  </a:lnTo>
                  <a:lnTo>
                    <a:pt x="549" y="1057"/>
                  </a:lnTo>
                  <a:lnTo>
                    <a:pt x="545" y="1102"/>
                  </a:lnTo>
                  <a:lnTo>
                    <a:pt x="525" y="1102"/>
                  </a:lnTo>
                  <a:lnTo>
                    <a:pt x="512" y="1102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ru-RU" sz="1300" b="1">
                <a:latin typeface="Calibri" pitchFamily="34" charset="0"/>
                <a:cs typeface="+mn-cs"/>
              </a:endParaRPr>
            </a:p>
          </p:txBody>
        </p:sp>
        <p:sp>
          <p:nvSpPr>
            <p:cNvPr id="116" name="Freeform 24"/>
            <p:cNvSpPr>
              <a:spLocks/>
            </p:cNvSpPr>
            <p:nvPr/>
          </p:nvSpPr>
          <p:spPr bwMode="auto">
            <a:xfrm>
              <a:off x="3198896" y="4467033"/>
              <a:ext cx="817563" cy="1113895"/>
            </a:xfrm>
            <a:custGeom>
              <a:avLst/>
              <a:gdLst>
                <a:gd name="T0" fmla="*/ 538805507 w 911"/>
                <a:gd name="T1" fmla="*/ 944707187 h 1251"/>
                <a:gd name="T2" fmla="*/ 460682829 w 911"/>
                <a:gd name="T3" fmla="*/ 938626439 h 1251"/>
                <a:gd name="T4" fmla="*/ 412359574 w 911"/>
                <a:gd name="T5" fmla="*/ 944707187 h 1251"/>
                <a:gd name="T6" fmla="*/ 393029733 w 911"/>
                <a:gd name="T7" fmla="*/ 901385889 h 1251"/>
                <a:gd name="T8" fmla="*/ 370479000 w 911"/>
                <a:gd name="T9" fmla="*/ 883145389 h 1251"/>
                <a:gd name="T10" fmla="*/ 321349849 w 911"/>
                <a:gd name="T11" fmla="*/ 883145389 h 1251"/>
                <a:gd name="T12" fmla="*/ 279470173 w 911"/>
                <a:gd name="T13" fmla="*/ 874024703 h 1251"/>
                <a:gd name="T14" fmla="*/ 265778016 w 911"/>
                <a:gd name="T15" fmla="*/ 785101937 h 1251"/>
                <a:gd name="T16" fmla="*/ 289134645 w 911"/>
                <a:gd name="T17" fmla="*/ 763821498 h 1251"/>
                <a:gd name="T18" fmla="*/ 268999806 w 911"/>
                <a:gd name="T19" fmla="*/ 720500419 h 1251"/>
                <a:gd name="T20" fmla="*/ 246449073 w 911"/>
                <a:gd name="T21" fmla="*/ 690099294 h 1251"/>
                <a:gd name="T22" fmla="*/ 201347551 w 911"/>
                <a:gd name="T23" fmla="*/ 687059356 h 1251"/>
                <a:gd name="T24" fmla="*/ 174769133 w 911"/>
                <a:gd name="T25" fmla="*/ 661978777 h 1251"/>
                <a:gd name="T26" fmla="*/ 136110349 w 911"/>
                <a:gd name="T27" fmla="*/ 665778918 h 1251"/>
                <a:gd name="T28" fmla="*/ 120003195 w 911"/>
                <a:gd name="T29" fmla="*/ 671858794 h 1251"/>
                <a:gd name="T30" fmla="*/ 84566173 w 911"/>
                <a:gd name="T31" fmla="*/ 646778215 h 1251"/>
                <a:gd name="T32" fmla="*/ 64431334 w 911"/>
                <a:gd name="T33" fmla="*/ 610297214 h 1251"/>
                <a:gd name="T34" fmla="*/ 84566173 w 911"/>
                <a:gd name="T35" fmla="*/ 557855448 h 1251"/>
                <a:gd name="T36" fmla="*/ 48323269 w 911"/>
                <a:gd name="T37" fmla="*/ 530495134 h 1251"/>
                <a:gd name="T38" fmla="*/ 6442684 w 911"/>
                <a:gd name="T39" fmla="*/ 500094009 h 1251"/>
                <a:gd name="T40" fmla="*/ 12886265 w 911"/>
                <a:gd name="T41" fmla="*/ 450692945 h 1251"/>
                <a:gd name="T42" fmla="*/ 0 w 911"/>
                <a:gd name="T43" fmla="*/ 402051320 h 1251"/>
                <a:gd name="T44" fmla="*/ 16108058 w 911"/>
                <a:gd name="T45" fmla="*/ 370890864 h 1251"/>
                <a:gd name="T46" fmla="*/ 25772529 w 911"/>
                <a:gd name="T47" fmla="*/ 349609554 h 1251"/>
                <a:gd name="T48" fmla="*/ 38658798 w 911"/>
                <a:gd name="T49" fmla="*/ 313128553 h 1251"/>
                <a:gd name="T50" fmla="*/ 41880587 w 911"/>
                <a:gd name="T51" fmla="*/ 245487097 h 1251"/>
                <a:gd name="T52" fmla="*/ 77317595 w 911"/>
                <a:gd name="T53" fmla="*/ 224206605 h 1251"/>
                <a:gd name="T54" fmla="*/ 126445877 w 911"/>
                <a:gd name="T55" fmla="*/ 211285778 h 1251"/>
                <a:gd name="T56" fmla="*/ 142553928 w 911"/>
                <a:gd name="T57" fmla="*/ 186965401 h 1251"/>
                <a:gd name="T58" fmla="*/ 178796818 w 911"/>
                <a:gd name="T59" fmla="*/ 150484401 h 1251"/>
                <a:gd name="T60" fmla="*/ 207790233 w 911"/>
                <a:gd name="T61" fmla="*/ 101082546 h 1251"/>
                <a:gd name="T62" fmla="*/ 236784601 w 911"/>
                <a:gd name="T63" fmla="*/ 70682293 h 1251"/>
                <a:gd name="T64" fmla="*/ 276248384 w 911"/>
                <a:gd name="T65" fmla="*/ 15200569 h 1251"/>
                <a:gd name="T66" fmla="*/ 308464485 w 911"/>
                <a:gd name="T67" fmla="*/ 0 h 1251"/>
                <a:gd name="T68" fmla="*/ 327793428 w 911"/>
                <a:gd name="T69" fmla="*/ 21280445 h 1251"/>
                <a:gd name="T70" fmla="*/ 337457900 w 911"/>
                <a:gd name="T71" fmla="*/ 46361031 h 1251"/>
                <a:gd name="T72" fmla="*/ 402694205 w 911"/>
                <a:gd name="T73" fmla="*/ 61561607 h 1251"/>
                <a:gd name="T74" fmla="*/ 464709617 w 911"/>
                <a:gd name="T75" fmla="*/ 61561607 h 1251"/>
                <a:gd name="T76" fmla="*/ 513032985 w 911"/>
                <a:gd name="T77" fmla="*/ 49400969 h 1251"/>
                <a:gd name="T78" fmla="*/ 532361928 w 911"/>
                <a:gd name="T79" fmla="*/ 70682293 h 1251"/>
                <a:gd name="T80" fmla="*/ 529141036 w 911"/>
                <a:gd name="T81" fmla="*/ 98042608 h 1251"/>
                <a:gd name="T82" fmla="*/ 535583718 w 911"/>
                <a:gd name="T83" fmla="*/ 125403821 h 1251"/>
                <a:gd name="T84" fmla="*/ 565383028 w 911"/>
                <a:gd name="T85" fmla="*/ 141363714 h 1251"/>
                <a:gd name="T86" fmla="*/ 562161239 w 911"/>
                <a:gd name="T87" fmla="*/ 165684963 h 1251"/>
                <a:gd name="T88" fmla="*/ 578269290 w 911"/>
                <a:gd name="T89" fmla="*/ 227246543 h 1251"/>
                <a:gd name="T90" fmla="*/ 597599130 w 911"/>
                <a:gd name="T91" fmla="*/ 217366526 h 1251"/>
                <a:gd name="T92" fmla="*/ 645922385 w 911"/>
                <a:gd name="T93" fmla="*/ 236366411 h 1251"/>
                <a:gd name="T94" fmla="*/ 669278117 w 911"/>
                <a:gd name="T95" fmla="*/ 306288475 h 1251"/>
                <a:gd name="T96" fmla="*/ 711158690 w 911"/>
                <a:gd name="T97" fmla="*/ 355690302 h 1251"/>
                <a:gd name="T98" fmla="*/ 733709423 w 911"/>
                <a:gd name="T99" fmla="*/ 414211944 h 1251"/>
                <a:gd name="T100" fmla="*/ 714380480 w 911"/>
                <a:gd name="T101" fmla="*/ 444612197 h 1251"/>
                <a:gd name="T102" fmla="*/ 720823162 w 911"/>
                <a:gd name="T103" fmla="*/ 542655758 h 1251"/>
                <a:gd name="T104" fmla="*/ 711158690 w 911"/>
                <a:gd name="T105" fmla="*/ 607257276 h 1251"/>
                <a:gd name="T106" fmla="*/ 691828850 w 911"/>
                <a:gd name="T107" fmla="*/ 634617591 h 1251"/>
                <a:gd name="T108" fmla="*/ 669278117 w 911"/>
                <a:gd name="T109" fmla="*/ 655898901 h 1251"/>
                <a:gd name="T110" fmla="*/ 639478806 w 911"/>
                <a:gd name="T111" fmla="*/ 671858794 h 1251"/>
                <a:gd name="T112" fmla="*/ 629814334 w 911"/>
                <a:gd name="T113" fmla="*/ 735700981 h 1251"/>
                <a:gd name="T114" fmla="*/ 620149863 w 911"/>
                <a:gd name="T115" fmla="*/ 782061998 h 1251"/>
                <a:gd name="T116" fmla="*/ 600820022 w 911"/>
                <a:gd name="T117" fmla="*/ 874024703 h 1251"/>
                <a:gd name="T118" fmla="*/ 597599130 w 911"/>
                <a:gd name="T119" fmla="*/ 928746422 h 1251"/>
                <a:gd name="T120" fmla="*/ 604041812 w 911"/>
                <a:gd name="T121" fmla="*/ 950787063 h 125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1"/>
                <a:gd name="T184" fmla="*/ 0 h 1251"/>
                <a:gd name="T185" fmla="*/ 911 w 911"/>
                <a:gd name="T186" fmla="*/ 1251 h 125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1" h="1251">
                  <a:moveTo>
                    <a:pt x="738" y="1251"/>
                  </a:moveTo>
                  <a:lnTo>
                    <a:pt x="726" y="1247"/>
                  </a:lnTo>
                  <a:lnTo>
                    <a:pt x="710" y="1247"/>
                  </a:lnTo>
                  <a:lnTo>
                    <a:pt x="669" y="1243"/>
                  </a:lnTo>
                  <a:lnTo>
                    <a:pt x="625" y="1243"/>
                  </a:lnTo>
                  <a:lnTo>
                    <a:pt x="613" y="1239"/>
                  </a:lnTo>
                  <a:lnTo>
                    <a:pt x="605" y="1235"/>
                  </a:lnTo>
                  <a:lnTo>
                    <a:pt x="572" y="1235"/>
                  </a:lnTo>
                  <a:lnTo>
                    <a:pt x="540" y="1227"/>
                  </a:lnTo>
                  <a:lnTo>
                    <a:pt x="528" y="1235"/>
                  </a:lnTo>
                  <a:lnTo>
                    <a:pt x="512" y="1243"/>
                  </a:lnTo>
                  <a:lnTo>
                    <a:pt x="500" y="1239"/>
                  </a:lnTo>
                  <a:lnTo>
                    <a:pt x="496" y="1214"/>
                  </a:lnTo>
                  <a:lnTo>
                    <a:pt x="492" y="1194"/>
                  </a:lnTo>
                  <a:lnTo>
                    <a:pt x="488" y="1186"/>
                  </a:lnTo>
                  <a:lnTo>
                    <a:pt x="476" y="1186"/>
                  </a:lnTo>
                  <a:lnTo>
                    <a:pt x="476" y="1174"/>
                  </a:lnTo>
                  <a:lnTo>
                    <a:pt x="472" y="1166"/>
                  </a:lnTo>
                  <a:lnTo>
                    <a:pt x="460" y="1162"/>
                  </a:lnTo>
                  <a:lnTo>
                    <a:pt x="447" y="1158"/>
                  </a:lnTo>
                  <a:lnTo>
                    <a:pt x="431" y="1158"/>
                  </a:lnTo>
                  <a:lnTo>
                    <a:pt x="411" y="1158"/>
                  </a:lnTo>
                  <a:lnTo>
                    <a:pt x="399" y="1162"/>
                  </a:lnTo>
                  <a:lnTo>
                    <a:pt x="387" y="1162"/>
                  </a:lnTo>
                  <a:lnTo>
                    <a:pt x="367" y="1162"/>
                  </a:lnTo>
                  <a:lnTo>
                    <a:pt x="347" y="1162"/>
                  </a:lnTo>
                  <a:lnTo>
                    <a:pt x="347" y="1150"/>
                  </a:lnTo>
                  <a:lnTo>
                    <a:pt x="343" y="1130"/>
                  </a:lnTo>
                  <a:lnTo>
                    <a:pt x="334" y="1126"/>
                  </a:lnTo>
                  <a:lnTo>
                    <a:pt x="334" y="1081"/>
                  </a:lnTo>
                  <a:lnTo>
                    <a:pt x="330" y="1033"/>
                  </a:lnTo>
                  <a:lnTo>
                    <a:pt x="334" y="1029"/>
                  </a:lnTo>
                  <a:lnTo>
                    <a:pt x="347" y="1025"/>
                  </a:lnTo>
                  <a:lnTo>
                    <a:pt x="351" y="1017"/>
                  </a:lnTo>
                  <a:lnTo>
                    <a:pt x="359" y="1005"/>
                  </a:lnTo>
                  <a:lnTo>
                    <a:pt x="359" y="984"/>
                  </a:lnTo>
                  <a:lnTo>
                    <a:pt x="355" y="968"/>
                  </a:lnTo>
                  <a:lnTo>
                    <a:pt x="347" y="956"/>
                  </a:lnTo>
                  <a:lnTo>
                    <a:pt x="334" y="948"/>
                  </a:lnTo>
                  <a:lnTo>
                    <a:pt x="330" y="932"/>
                  </a:lnTo>
                  <a:lnTo>
                    <a:pt x="326" y="924"/>
                  </a:lnTo>
                  <a:lnTo>
                    <a:pt x="318" y="912"/>
                  </a:lnTo>
                  <a:lnTo>
                    <a:pt x="306" y="908"/>
                  </a:lnTo>
                  <a:lnTo>
                    <a:pt x="298" y="912"/>
                  </a:lnTo>
                  <a:lnTo>
                    <a:pt x="286" y="912"/>
                  </a:lnTo>
                  <a:lnTo>
                    <a:pt x="278" y="908"/>
                  </a:lnTo>
                  <a:lnTo>
                    <a:pt x="250" y="904"/>
                  </a:lnTo>
                  <a:lnTo>
                    <a:pt x="242" y="892"/>
                  </a:lnTo>
                  <a:lnTo>
                    <a:pt x="226" y="876"/>
                  </a:lnTo>
                  <a:lnTo>
                    <a:pt x="222" y="871"/>
                  </a:lnTo>
                  <a:lnTo>
                    <a:pt x="217" y="871"/>
                  </a:lnTo>
                  <a:lnTo>
                    <a:pt x="205" y="871"/>
                  </a:lnTo>
                  <a:lnTo>
                    <a:pt x="189" y="871"/>
                  </a:lnTo>
                  <a:lnTo>
                    <a:pt x="177" y="876"/>
                  </a:lnTo>
                  <a:lnTo>
                    <a:pt x="169" y="876"/>
                  </a:lnTo>
                  <a:lnTo>
                    <a:pt x="169" y="880"/>
                  </a:lnTo>
                  <a:lnTo>
                    <a:pt x="165" y="880"/>
                  </a:lnTo>
                  <a:lnTo>
                    <a:pt x="157" y="884"/>
                  </a:lnTo>
                  <a:lnTo>
                    <a:pt x="149" y="884"/>
                  </a:lnTo>
                  <a:lnTo>
                    <a:pt x="133" y="880"/>
                  </a:lnTo>
                  <a:lnTo>
                    <a:pt x="125" y="871"/>
                  </a:lnTo>
                  <a:lnTo>
                    <a:pt x="113" y="859"/>
                  </a:lnTo>
                  <a:lnTo>
                    <a:pt x="105" y="851"/>
                  </a:lnTo>
                  <a:lnTo>
                    <a:pt x="96" y="843"/>
                  </a:lnTo>
                  <a:lnTo>
                    <a:pt x="80" y="827"/>
                  </a:lnTo>
                  <a:lnTo>
                    <a:pt x="80" y="815"/>
                  </a:lnTo>
                  <a:lnTo>
                    <a:pt x="80" y="803"/>
                  </a:lnTo>
                  <a:lnTo>
                    <a:pt x="96" y="783"/>
                  </a:lnTo>
                  <a:lnTo>
                    <a:pt x="105" y="771"/>
                  </a:lnTo>
                  <a:lnTo>
                    <a:pt x="105" y="750"/>
                  </a:lnTo>
                  <a:lnTo>
                    <a:pt x="105" y="734"/>
                  </a:lnTo>
                  <a:lnTo>
                    <a:pt x="101" y="730"/>
                  </a:lnTo>
                  <a:lnTo>
                    <a:pt x="101" y="718"/>
                  </a:lnTo>
                  <a:lnTo>
                    <a:pt x="88" y="714"/>
                  </a:lnTo>
                  <a:lnTo>
                    <a:pt x="60" y="698"/>
                  </a:lnTo>
                  <a:lnTo>
                    <a:pt x="56" y="686"/>
                  </a:lnTo>
                  <a:lnTo>
                    <a:pt x="52" y="670"/>
                  </a:lnTo>
                  <a:lnTo>
                    <a:pt x="28" y="662"/>
                  </a:lnTo>
                  <a:lnTo>
                    <a:pt x="8" y="658"/>
                  </a:lnTo>
                  <a:lnTo>
                    <a:pt x="8" y="629"/>
                  </a:lnTo>
                  <a:lnTo>
                    <a:pt x="12" y="617"/>
                  </a:lnTo>
                  <a:lnTo>
                    <a:pt x="16" y="613"/>
                  </a:lnTo>
                  <a:lnTo>
                    <a:pt x="16" y="593"/>
                  </a:lnTo>
                  <a:lnTo>
                    <a:pt x="16" y="565"/>
                  </a:lnTo>
                  <a:lnTo>
                    <a:pt x="8" y="557"/>
                  </a:lnTo>
                  <a:lnTo>
                    <a:pt x="0" y="553"/>
                  </a:lnTo>
                  <a:lnTo>
                    <a:pt x="0" y="529"/>
                  </a:lnTo>
                  <a:lnTo>
                    <a:pt x="0" y="508"/>
                  </a:lnTo>
                  <a:lnTo>
                    <a:pt x="12" y="500"/>
                  </a:lnTo>
                  <a:lnTo>
                    <a:pt x="20" y="496"/>
                  </a:lnTo>
                  <a:lnTo>
                    <a:pt x="20" y="488"/>
                  </a:lnTo>
                  <a:lnTo>
                    <a:pt x="20" y="480"/>
                  </a:lnTo>
                  <a:lnTo>
                    <a:pt x="24" y="476"/>
                  </a:lnTo>
                  <a:lnTo>
                    <a:pt x="28" y="468"/>
                  </a:lnTo>
                  <a:lnTo>
                    <a:pt x="32" y="460"/>
                  </a:lnTo>
                  <a:lnTo>
                    <a:pt x="32" y="444"/>
                  </a:lnTo>
                  <a:lnTo>
                    <a:pt x="40" y="440"/>
                  </a:lnTo>
                  <a:lnTo>
                    <a:pt x="44" y="436"/>
                  </a:lnTo>
                  <a:lnTo>
                    <a:pt x="48" y="412"/>
                  </a:lnTo>
                  <a:lnTo>
                    <a:pt x="56" y="387"/>
                  </a:lnTo>
                  <a:lnTo>
                    <a:pt x="56" y="367"/>
                  </a:lnTo>
                  <a:lnTo>
                    <a:pt x="56" y="347"/>
                  </a:lnTo>
                  <a:lnTo>
                    <a:pt x="52" y="323"/>
                  </a:lnTo>
                  <a:lnTo>
                    <a:pt x="52" y="311"/>
                  </a:lnTo>
                  <a:lnTo>
                    <a:pt x="52" y="303"/>
                  </a:lnTo>
                  <a:lnTo>
                    <a:pt x="60" y="295"/>
                  </a:lnTo>
                  <a:lnTo>
                    <a:pt x="96" y="295"/>
                  </a:lnTo>
                  <a:lnTo>
                    <a:pt x="133" y="295"/>
                  </a:lnTo>
                  <a:lnTo>
                    <a:pt x="141" y="286"/>
                  </a:lnTo>
                  <a:lnTo>
                    <a:pt x="153" y="282"/>
                  </a:lnTo>
                  <a:lnTo>
                    <a:pt x="157" y="278"/>
                  </a:lnTo>
                  <a:lnTo>
                    <a:pt x="165" y="270"/>
                  </a:lnTo>
                  <a:lnTo>
                    <a:pt x="165" y="262"/>
                  </a:lnTo>
                  <a:lnTo>
                    <a:pt x="165" y="254"/>
                  </a:lnTo>
                  <a:lnTo>
                    <a:pt x="177" y="246"/>
                  </a:lnTo>
                  <a:lnTo>
                    <a:pt x="193" y="234"/>
                  </a:lnTo>
                  <a:lnTo>
                    <a:pt x="193" y="226"/>
                  </a:lnTo>
                  <a:lnTo>
                    <a:pt x="201" y="218"/>
                  </a:lnTo>
                  <a:lnTo>
                    <a:pt x="222" y="198"/>
                  </a:lnTo>
                  <a:lnTo>
                    <a:pt x="242" y="186"/>
                  </a:lnTo>
                  <a:lnTo>
                    <a:pt x="246" y="169"/>
                  </a:lnTo>
                  <a:lnTo>
                    <a:pt x="250" y="153"/>
                  </a:lnTo>
                  <a:lnTo>
                    <a:pt x="258" y="133"/>
                  </a:lnTo>
                  <a:lnTo>
                    <a:pt x="274" y="113"/>
                  </a:lnTo>
                  <a:lnTo>
                    <a:pt x="278" y="105"/>
                  </a:lnTo>
                  <a:lnTo>
                    <a:pt x="286" y="97"/>
                  </a:lnTo>
                  <a:lnTo>
                    <a:pt x="294" y="93"/>
                  </a:lnTo>
                  <a:lnTo>
                    <a:pt x="302" y="81"/>
                  </a:lnTo>
                  <a:lnTo>
                    <a:pt x="306" y="57"/>
                  </a:lnTo>
                  <a:lnTo>
                    <a:pt x="306" y="24"/>
                  </a:lnTo>
                  <a:lnTo>
                    <a:pt x="343" y="20"/>
                  </a:lnTo>
                  <a:lnTo>
                    <a:pt x="355" y="16"/>
                  </a:lnTo>
                  <a:lnTo>
                    <a:pt x="363" y="4"/>
                  </a:lnTo>
                  <a:lnTo>
                    <a:pt x="367" y="0"/>
                  </a:lnTo>
                  <a:lnTo>
                    <a:pt x="383" y="0"/>
                  </a:lnTo>
                  <a:lnTo>
                    <a:pt x="399" y="0"/>
                  </a:lnTo>
                  <a:lnTo>
                    <a:pt x="399" y="8"/>
                  </a:lnTo>
                  <a:lnTo>
                    <a:pt x="407" y="16"/>
                  </a:lnTo>
                  <a:lnTo>
                    <a:pt x="407" y="28"/>
                  </a:lnTo>
                  <a:lnTo>
                    <a:pt x="411" y="28"/>
                  </a:lnTo>
                  <a:lnTo>
                    <a:pt x="411" y="32"/>
                  </a:lnTo>
                  <a:lnTo>
                    <a:pt x="415" y="48"/>
                  </a:lnTo>
                  <a:lnTo>
                    <a:pt x="419" y="61"/>
                  </a:lnTo>
                  <a:lnTo>
                    <a:pt x="439" y="61"/>
                  </a:lnTo>
                  <a:lnTo>
                    <a:pt x="460" y="61"/>
                  </a:lnTo>
                  <a:lnTo>
                    <a:pt x="480" y="69"/>
                  </a:lnTo>
                  <a:lnTo>
                    <a:pt x="500" y="81"/>
                  </a:lnTo>
                  <a:lnTo>
                    <a:pt x="524" y="81"/>
                  </a:lnTo>
                  <a:lnTo>
                    <a:pt x="548" y="81"/>
                  </a:lnTo>
                  <a:lnTo>
                    <a:pt x="560" y="81"/>
                  </a:lnTo>
                  <a:lnTo>
                    <a:pt x="577" y="81"/>
                  </a:lnTo>
                  <a:lnTo>
                    <a:pt x="589" y="81"/>
                  </a:lnTo>
                  <a:lnTo>
                    <a:pt x="609" y="69"/>
                  </a:lnTo>
                  <a:lnTo>
                    <a:pt x="625" y="65"/>
                  </a:lnTo>
                  <a:lnTo>
                    <a:pt x="637" y="65"/>
                  </a:lnTo>
                  <a:lnTo>
                    <a:pt x="653" y="65"/>
                  </a:lnTo>
                  <a:lnTo>
                    <a:pt x="665" y="69"/>
                  </a:lnTo>
                  <a:lnTo>
                    <a:pt x="661" y="81"/>
                  </a:lnTo>
                  <a:lnTo>
                    <a:pt x="661" y="93"/>
                  </a:lnTo>
                  <a:lnTo>
                    <a:pt x="657" y="97"/>
                  </a:lnTo>
                  <a:lnTo>
                    <a:pt x="645" y="101"/>
                  </a:lnTo>
                  <a:lnTo>
                    <a:pt x="653" y="113"/>
                  </a:lnTo>
                  <a:lnTo>
                    <a:pt x="657" y="129"/>
                  </a:lnTo>
                  <a:lnTo>
                    <a:pt x="661" y="133"/>
                  </a:lnTo>
                  <a:lnTo>
                    <a:pt x="665" y="145"/>
                  </a:lnTo>
                  <a:lnTo>
                    <a:pt x="665" y="153"/>
                  </a:lnTo>
                  <a:lnTo>
                    <a:pt x="665" y="165"/>
                  </a:lnTo>
                  <a:lnTo>
                    <a:pt x="677" y="169"/>
                  </a:lnTo>
                  <a:lnTo>
                    <a:pt x="694" y="169"/>
                  </a:lnTo>
                  <a:lnTo>
                    <a:pt x="698" y="182"/>
                  </a:lnTo>
                  <a:lnTo>
                    <a:pt x="702" y="186"/>
                  </a:lnTo>
                  <a:lnTo>
                    <a:pt x="702" y="190"/>
                  </a:lnTo>
                  <a:lnTo>
                    <a:pt x="698" y="198"/>
                  </a:lnTo>
                  <a:lnTo>
                    <a:pt x="698" y="206"/>
                  </a:lnTo>
                  <a:lnTo>
                    <a:pt x="698" y="218"/>
                  </a:lnTo>
                  <a:lnTo>
                    <a:pt x="702" y="238"/>
                  </a:lnTo>
                  <a:lnTo>
                    <a:pt x="706" y="262"/>
                  </a:lnTo>
                  <a:lnTo>
                    <a:pt x="710" y="278"/>
                  </a:lnTo>
                  <a:lnTo>
                    <a:pt x="718" y="299"/>
                  </a:lnTo>
                  <a:lnTo>
                    <a:pt x="726" y="299"/>
                  </a:lnTo>
                  <a:lnTo>
                    <a:pt x="734" y="299"/>
                  </a:lnTo>
                  <a:lnTo>
                    <a:pt x="738" y="295"/>
                  </a:lnTo>
                  <a:lnTo>
                    <a:pt x="742" y="286"/>
                  </a:lnTo>
                  <a:lnTo>
                    <a:pt x="758" y="286"/>
                  </a:lnTo>
                  <a:lnTo>
                    <a:pt x="774" y="286"/>
                  </a:lnTo>
                  <a:lnTo>
                    <a:pt x="786" y="303"/>
                  </a:lnTo>
                  <a:lnTo>
                    <a:pt x="802" y="311"/>
                  </a:lnTo>
                  <a:lnTo>
                    <a:pt x="811" y="323"/>
                  </a:lnTo>
                  <a:lnTo>
                    <a:pt x="823" y="335"/>
                  </a:lnTo>
                  <a:lnTo>
                    <a:pt x="823" y="367"/>
                  </a:lnTo>
                  <a:lnTo>
                    <a:pt x="831" y="403"/>
                  </a:lnTo>
                  <a:lnTo>
                    <a:pt x="847" y="424"/>
                  </a:lnTo>
                  <a:lnTo>
                    <a:pt x="863" y="448"/>
                  </a:lnTo>
                  <a:lnTo>
                    <a:pt x="871" y="460"/>
                  </a:lnTo>
                  <a:lnTo>
                    <a:pt x="883" y="468"/>
                  </a:lnTo>
                  <a:lnTo>
                    <a:pt x="887" y="496"/>
                  </a:lnTo>
                  <a:lnTo>
                    <a:pt x="895" y="525"/>
                  </a:lnTo>
                  <a:lnTo>
                    <a:pt x="899" y="533"/>
                  </a:lnTo>
                  <a:lnTo>
                    <a:pt x="911" y="545"/>
                  </a:lnTo>
                  <a:lnTo>
                    <a:pt x="911" y="549"/>
                  </a:lnTo>
                  <a:lnTo>
                    <a:pt x="911" y="553"/>
                  </a:lnTo>
                  <a:lnTo>
                    <a:pt x="895" y="569"/>
                  </a:lnTo>
                  <a:lnTo>
                    <a:pt x="887" y="585"/>
                  </a:lnTo>
                  <a:lnTo>
                    <a:pt x="887" y="633"/>
                  </a:lnTo>
                  <a:lnTo>
                    <a:pt x="891" y="702"/>
                  </a:lnTo>
                  <a:lnTo>
                    <a:pt x="891" y="714"/>
                  </a:lnTo>
                  <a:lnTo>
                    <a:pt x="895" y="714"/>
                  </a:lnTo>
                  <a:lnTo>
                    <a:pt x="891" y="750"/>
                  </a:lnTo>
                  <a:lnTo>
                    <a:pt x="891" y="775"/>
                  </a:lnTo>
                  <a:lnTo>
                    <a:pt x="887" y="783"/>
                  </a:lnTo>
                  <a:lnTo>
                    <a:pt x="883" y="799"/>
                  </a:lnTo>
                  <a:lnTo>
                    <a:pt x="875" y="803"/>
                  </a:lnTo>
                  <a:lnTo>
                    <a:pt x="875" y="811"/>
                  </a:lnTo>
                  <a:lnTo>
                    <a:pt x="871" y="819"/>
                  </a:lnTo>
                  <a:lnTo>
                    <a:pt x="859" y="835"/>
                  </a:lnTo>
                  <a:lnTo>
                    <a:pt x="851" y="843"/>
                  </a:lnTo>
                  <a:lnTo>
                    <a:pt x="851" y="847"/>
                  </a:lnTo>
                  <a:lnTo>
                    <a:pt x="847" y="851"/>
                  </a:lnTo>
                  <a:lnTo>
                    <a:pt x="831" y="863"/>
                  </a:lnTo>
                  <a:lnTo>
                    <a:pt x="815" y="871"/>
                  </a:lnTo>
                  <a:lnTo>
                    <a:pt x="806" y="876"/>
                  </a:lnTo>
                  <a:lnTo>
                    <a:pt x="798" y="876"/>
                  </a:lnTo>
                  <a:lnTo>
                    <a:pt x="794" y="884"/>
                  </a:lnTo>
                  <a:lnTo>
                    <a:pt x="786" y="896"/>
                  </a:lnTo>
                  <a:lnTo>
                    <a:pt x="794" y="900"/>
                  </a:lnTo>
                  <a:lnTo>
                    <a:pt x="786" y="912"/>
                  </a:lnTo>
                  <a:lnTo>
                    <a:pt x="782" y="968"/>
                  </a:lnTo>
                  <a:lnTo>
                    <a:pt x="778" y="972"/>
                  </a:lnTo>
                  <a:lnTo>
                    <a:pt x="774" y="984"/>
                  </a:lnTo>
                  <a:lnTo>
                    <a:pt x="774" y="1005"/>
                  </a:lnTo>
                  <a:lnTo>
                    <a:pt x="770" y="1029"/>
                  </a:lnTo>
                  <a:lnTo>
                    <a:pt x="762" y="1069"/>
                  </a:lnTo>
                  <a:lnTo>
                    <a:pt x="754" y="1126"/>
                  </a:lnTo>
                  <a:lnTo>
                    <a:pt x="750" y="1134"/>
                  </a:lnTo>
                  <a:lnTo>
                    <a:pt x="746" y="1150"/>
                  </a:lnTo>
                  <a:lnTo>
                    <a:pt x="742" y="1154"/>
                  </a:lnTo>
                  <a:lnTo>
                    <a:pt x="738" y="1158"/>
                  </a:lnTo>
                  <a:lnTo>
                    <a:pt x="742" y="1186"/>
                  </a:lnTo>
                  <a:lnTo>
                    <a:pt x="742" y="1222"/>
                  </a:lnTo>
                  <a:lnTo>
                    <a:pt x="746" y="1227"/>
                  </a:lnTo>
                  <a:lnTo>
                    <a:pt x="750" y="1239"/>
                  </a:lnTo>
                  <a:lnTo>
                    <a:pt x="750" y="1243"/>
                  </a:lnTo>
                  <a:lnTo>
                    <a:pt x="750" y="1251"/>
                  </a:lnTo>
                  <a:lnTo>
                    <a:pt x="746" y="1251"/>
                  </a:lnTo>
                  <a:lnTo>
                    <a:pt x="738" y="1251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17" name="Freeform 25"/>
            <p:cNvSpPr>
              <a:spLocks/>
            </p:cNvSpPr>
            <p:nvPr/>
          </p:nvSpPr>
          <p:spPr bwMode="auto">
            <a:xfrm>
              <a:off x="7612146" y="4891838"/>
              <a:ext cx="692150" cy="638828"/>
            </a:xfrm>
            <a:custGeom>
              <a:avLst/>
              <a:gdLst>
                <a:gd name="T0" fmla="*/ 166019049 w 771"/>
                <a:gd name="T1" fmla="*/ 523624538 h 718"/>
                <a:gd name="T2" fmla="*/ 166019049 w 771"/>
                <a:gd name="T3" fmla="*/ 505411722 h 718"/>
                <a:gd name="T4" fmla="*/ 130558716 w 771"/>
                <a:gd name="T5" fmla="*/ 493269845 h 718"/>
                <a:gd name="T6" fmla="*/ 107187187 w 771"/>
                <a:gd name="T7" fmla="*/ 462155524 h 718"/>
                <a:gd name="T8" fmla="*/ 103963439 w 771"/>
                <a:gd name="T9" fmla="*/ 431800723 h 718"/>
                <a:gd name="T10" fmla="*/ 100739691 w 771"/>
                <a:gd name="T11" fmla="*/ 395374221 h 718"/>
                <a:gd name="T12" fmla="*/ 74950603 w 771"/>
                <a:gd name="T13" fmla="*/ 367295804 h 718"/>
                <a:gd name="T14" fmla="*/ 45937753 w 771"/>
                <a:gd name="T15" fmla="*/ 349082989 h 718"/>
                <a:gd name="T16" fmla="*/ 42714004 w 771"/>
                <a:gd name="T17" fmla="*/ 330870173 h 718"/>
                <a:gd name="T18" fmla="*/ 55608099 w 771"/>
                <a:gd name="T19" fmla="*/ 306586420 h 718"/>
                <a:gd name="T20" fmla="*/ 45937753 w 771"/>
                <a:gd name="T21" fmla="*/ 281543036 h 718"/>
                <a:gd name="T22" fmla="*/ 16118748 w 771"/>
                <a:gd name="T23" fmla="*/ 263330221 h 718"/>
                <a:gd name="T24" fmla="*/ 0 w 771"/>
                <a:gd name="T25" fmla="*/ 254223378 h 718"/>
                <a:gd name="T26" fmla="*/ 0 w 771"/>
                <a:gd name="T27" fmla="*/ 232974658 h 718"/>
                <a:gd name="T28" fmla="*/ 22565347 w 771"/>
                <a:gd name="T29" fmla="*/ 220832727 h 718"/>
                <a:gd name="T30" fmla="*/ 55608099 w 771"/>
                <a:gd name="T31" fmla="*/ 210967996 h 718"/>
                <a:gd name="T32" fmla="*/ 84621847 w 771"/>
                <a:gd name="T33" fmla="*/ 171506461 h 718"/>
                <a:gd name="T34" fmla="*/ 130558716 w 771"/>
                <a:gd name="T35" fmla="*/ 171506461 h 718"/>
                <a:gd name="T36" fmla="*/ 231299276 w 771"/>
                <a:gd name="T37" fmla="*/ 174541494 h 718"/>
                <a:gd name="T38" fmla="*/ 253864672 w 771"/>
                <a:gd name="T39" fmla="*/ 159363713 h 718"/>
                <a:gd name="T40" fmla="*/ 273207161 w 771"/>
                <a:gd name="T41" fmla="*/ 144186802 h 718"/>
                <a:gd name="T42" fmla="*/ 295772501 w 771"/>
                <a:gd name="T43" fmla="*/ 132044925 h 718"/>
                <a:gd name="T44" fmla="*/ 367499328 w 771"/>
                <a:gd name="T45" fmla="*/ 113072453 h 718"/>
                <a:gd name="T46" fmla="*/ 399735912 w 771"/>
                <a:gd name="T47" fmla="*/ 103966481 h 718"/>
                <a:gd name="T48" fmla="*/ 426331161 w 771"/>
                <a:gd name="T49" fmla="*/ 79681856 h 718"/>
                <a:gd name="T50" fmla="*/ 442449902 w 771"/>
                <a:gd name="T51" fmla="*/ 76646823 h 718"/>
                <a:gd name="T52" fmla="*/ 471462850 w 771"/>
                <a:gd name="T53" fmla="*/ 91823733 h 718"/>
                <a:gd name="T54" fmla="*/ 500476584 w 771"/>
                <a:gd name="T55" fmla="*/ 79681856 h 718"/>
                <a:gd name="T56" fmla="*/ 523848085 w 771"/>
                <a:gd name="T57" fmla="*/ 55398089 h 718"/>
                <a:gd name="T58" fmla="*/ 533518432 w 771"/>
                <a:gd name="T59" fmla="*/ 30354706 h 718"/>
                <a:gd name="T60" fmla="*/ 565755914 w 771"/>
                <a:gd name="T61" fmla="*/ 0 h 718"/>
                <a:gd name="T62" fmla="*/ 581873758 w 771"/>
                <a:gd name="T63" fmla="*/ 3035906 h 718"/>
                <a:gd name="T64" fmla="*/ 605245259 w 771"/>
                <a:gd name="T65" fmla="*/ 15177788 h 718"/>
                <a:gd name="T66" fmla="*/ 581873758 w 771"/>
                <a:gd name="T67" fmla="*/ 46291246 h 718"/>
                <a:gd name="T68" fmla="*/ 585097506 w 771"/>
                <a:gd name="T69" fmla="*/ 64504075 h 718"/>
                <a:gd name="T70" fmla="*/ 598798660 w 771"/>
                <a:gd name="T71" fmla="*/ 79681856 h 718"/>
                <a:gd name="T72" fmla="*/ 608469007 w 771"/>
                <a:gd name="T73" fmla="*/ 97894672 h 718"/>
                <a:gd name="T74" fmla="*/ 621364000 w 771"/>
                <a:gd name="T75" fmla="*/ 113072453 h 718"/>
                <a:gd name="T76" fmla="*/ 608469007 w 771"/>
                <a:gd name="T77" fmla="*/ 144186802 h 718"/>
                <a:gd name="T78" fmla="*/ 605245259 w 771"/>
                <a:gd name="T79" fmla="*/ 165434651 h 718"/>
                <a:gd name="T80" fmla="*/ 605245259 w 771"/>
                <a:gd name="T81" fmla="*/ 189719276 h 718"/>
                <a:gd name="T82" fmla="*/ 565755914 w 771"/>
                <a:gd name="T83" fmla="*/ 220832727 h 718"/>
                <a:gd name="T84" fmla="*/ 562532166 w 771"/>
                <a:gd name="T85" fmla="*/ 236010563 h 718"/>
                <a:gd name="T86" fmla="*/ 543189677 w 771"/>
                <a:gd name="T87" fmla="*/ 278508003 h 718"/>
                <a:gd name="T88" fmla="*/ 514176841 w 771"/>
                <a:gd name="T89" fmla="*/ 321763330 h 718"/>
                <a:gd name="T90" fmla="*/ 504505596 w 771"/>
                <a:gd name="T91" fmla="*/ 333905207 h 718"/>
                <a:gd name="T92" fmla="*/ 494029088 w 771"/>
                <a:gd name="T93" fmla="*/ 349082989 h 718"/>
                <a:gd name="T94" fmla="*/ 504505596 w 771"/>
                <a:gd name="T95" fmla="*/ 373366742 h 718"/>
                <a:gd name="T96" fmla="*/ 494029088 w 771"/>
                <a:gd name="T97" fmla="*/ 413587907 h 718"/>
                <a:gd name="T98" fmla="*/ 458568643 w 771"/>
                <a:gd name="T99" fmla="*/ 462155524 h 718"/>
                <a:gd name="T100" fmla="*/ 419884563 w 771"/>
                <a:gd name="T101" fmla="*/ 477333305 h 718"/>
                <a:gd name="T102" fmla="*/ 419884563 w 771"/>
                <a:gd name="T103" fmla="*/ 487198907 h 718"/>
                <a:gd name="T104" fmla="*/ 436002406 w 771"/>
                <a:gd name="T105" fmla="*/ 505411722 h 718"/>
                <a:gd name="T106" fmla="*/ 410213318 w 771"/>
                <a:gd name="T107" fmla="*/ 523624538 h 718"/>
                <a:gd name="T108" fmla="*/ 393288415 w 771"/>
                <a:gd name="T109" fmla="*/ 526660442 h 718"/>
                <a:gd name="T110" fmla="*/ 377170572 w 771"/>
                <a:gd name="T111" fmla="*/ 514518565 h 718"/>
                <a:gd name="T112" fmla="*/ 348156838 w 771"/>
                <a:gd name="T113" fmla="*/ 517553599 h 718"/>
                <a:gd name="T114" fmla="*/ 325591499 w 771"/>
                <a:gd name="T115" fmla="*/ 520589504 h 718"/>
                <a:gd name="T116" fmla="*/ 260312169 w 771"/>
                <a:gd name="T117" fmla="*/ 514518565 h 718"/>
                <a:gd name="T118" fmla="*/ 207926878 w 771"/>
                <a:gd name="T119" fmla="*/ 514518565 h 718"/>
                <a:gd name="T120" fmla="*/ 191809034 w 771"/>
                <a:gd name="T121" fmla="*/ 532731381 h 718"/>
                <a:gd name="T122" fmla="*/ 169242797 w 771"/>
                <a:gd name="T123" fmla="*/ 538802319 h 7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71"/>
                <a:gd name="T187" fmla="*/ 0 h 718"/>
                <a:gd name="T188" fmla="*/ 771 w 771"/>
                <a:gd name="T189" fmla="*/ 718 h 71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71" h="718">
                  <a:moveTo>
                    <a:pt x="210" y="710"/>
                  </a:moveTo>
                  <a:lnTo>
                    <a:pt x="206" y="706"/>
                  </a:lnTo>
                  <a:lnTo>
                    <a:pt x="206" y="690"/>
                  </a:lnTo>
                  <a:lnTo>
                    <a:pt x="206" y="678"/>
                  </a:lnTo>
                  <a:lnTo>
                    <a:pt x="206" y="674"/>
                  </a:lnTo>
                  <a:lnTo>
                    <a:pt x="206" y="666"/>
                  </a:lnTo>
                  <a:lnTo>
                    <a:pt x="194" y="658"/>
                  </a:lnTo>
                  <a:lnTo>
                    <a:pt x="190" y="654"/>
                  </a:lnTo>
                  <a:lnTo>
                    <a:pt x="162" y="650"/>
                  </a:lnTo>
                  <a:lnTo>
                    <a:pt x="137" y="650"/>
                  </a:lnTo>
                  <a:lnTo>
                    <a:pt x="137" y="625"/>
                  </a:lnTo>
                  <a:lnTo>
                    <a:pt x="133" y="609"/>
                  </a:lnTo>
                  <a:lnTo>
                    <a:pt x="133" y="605"/>
                  </a:lnTo>
                  <a:lnTo>
                    <a:pt x="129" y="605"/>
                  </a:lnTo>
                  <a:lnTo>
                    <a:pt x="129" y="569"/>
                  </a:lnTo>
                  <a:lnTo>
                    <a:pt x="129" y="529"/>
                  </a:lnTo>
                  <a:lnTo>
                    <a:pt x="125" y="529"/>
                  </a:lnTo>
                  <a:lnTo>
                    <a:pt x="125" y="521"/>
                  </a:lnTo>
                  <a:lnTo>
                    <a:pt x="121" y="508"/>
                  </a:lnTo>
                  <a:lnTo>
                    <a:pt x="101" y="496"/>
                  </a:lnTo>
                  <a:lnTo>
                    <a:pt x="93" y="484"/>
                  </a:lnTo>
                  <a:lnTo>
                    <a:pt x="77" y="476"/>
                  </a:lnTo>
                  <a:lnTo>
                    <a:pt x="57" y="472"/>
                  </a:lnTo>
                  <a:lnTo>
                    <a:pt x="57" y="460"/>
                  </a:lnTo>
                  <a:lnTo>
                    <a:pt x="53" y="456"/>
                  </a:lnTo>
                  <a:lnTo>
                    <a:pt x="53" y="444"/>
                  </a:lnTo>
                  <a:lnTo>
                    <a:pt x="53" y="436"/>
                  </a:lnTo>
                  <a:lnTo>
                    <a:pt x="65" y="428"/>
                  </a:lnTo>
                  <a:lnTo>
                    <a:pt x="73" y="420"/>
                  </a:lnTo>
                  <a:lnTo>
                    <a:pt x="69" y="404"/>
                  </a:lnTo>
                  <a:lnTo>
                    <a:pt x="57" y="379"/>
                  </a:lnTo>
                  <a:lnTo>
                    <a:pt x="57" y="375"/>
                  </a:lnTo>
                  <a:lnTo>
                    <a:pt x="57" y="371"/>
                  </a:lnTo>
                  <a:lnTo>
                    <a:pt x="37" y="359"/>
                  </a:lnTo>
                  <a:lnTo>
                    <a:pt x="24" y="355"/>
                  </a:lnTo>
                  <a:lnTo>
                    <a:pt x="20" y="347"/>
                  </a:lnTo>
                  <a:lnTo>
                    <a:pt x="12" y="339"/>
                  </a:lnTo>
                  <a:lnTo>
                    <a:pt x="4" y="335"/>
                  </a:lnTo>
                  <a:lnTo>
                    <a:pt x="0" y="335"/>
                  </a:lnTo>
                  <a:lnTo>
                    <a:pt x="0" y="327"/>
                  </a:lnTo>
                  <a:lnTo>
                    <a:pt x="0" y="311"/>
                  </a:lnTo>
                  <a:lnTo>
                    <a:pt x="0" y="307"/>
                  </a:lnTo>
                  <a:lnTo>
                    <a:pt x="4" y="303"/>
                  </a:lnTo>
                  <a:lnTo>
                    <a:pt x="16" y="299"/>
                  </a:lnTo>
                  <a:lnTo>
                    <a:pt x="28" y="291"/>
                  </a:lnTo>
                  <a:lnTo>
                    <a:pt x="37" y="291"/>
                  </a:lnTo>
                  <a:lnTo>
                    <a:pt x="37" y="287"/>
                  </a:lnTo>
                  <a:lnTo>
                    <a:pt x="69" y="278"/>
                  </a:lnTo>
                  <a:lnTo>
                    <a:pt x="105" y="278"/>
                  </a:lnTo>
                  <a:lnTo>
                    <a:pt x="105" y="250"/>
                  </a:lnTo>
                  <a:lnTo>
                    <a:pt x="105" y="226"/>
                  </a:lnTo>
                  <a:lnTo>
                    <a:pt x="129" y="226"/>
                  </a:lnTo>
                  <a:lnTo>
                    <a:pt x="149" y="226"/>
                  </a:lnTo>
                  <a:lnTo>
                    <a:pt x="162" y="226"/>
                  </a:lnTo>
                  <a:lnTo>
                    <a:pt x="174" y="230"/>
                  </a:lnTo>
                  <a:lnTo>
                    <a:pt x="230" y="230"/>
                  </a:lnTo>
                  <a:lnTo>
                    <a:pt x="287" y="230"/>
                  </a:lnTo>
                  <a:lnTo>
                    <a:pt x="299" y="226"/>
                  </a:lnTo>
                  <a:lnTo>
                    <a:pt x="311" y="214"/>
                  </a:lnTo>
                  <a:lnTo>
                    <a:pt x="315" y="210"/>
                  </a:lnTo>
                  <a:lnTo>
                    <a:pt x="323" y="206"/>
                  </a:lnTo>
                  <a:lnTo>
                    <a:pt x="331" y="194"/>
                  </a:lnTo>
                  <a:lnTo>
                    <a:pt x="339" y="190"/>
                  </a:lnTo>
                  <a:lnTo>
                    <a:pt x="347" y="182"/>
                  </a:lnTo>
                  <a:lnTo>
                    <a:pt x="355" y="174"/>
                  </a:lnTo>
                  <a:lnTo>
                    <a:pt x="367" y="174"/>
                  </a:lnTo>
                  <a:lnTo>
                    <a:pt x="383" y="170"/>
                  </a:lnTo>
                  <a:lnTo>
                    <a:pt x="388" y="166"/>
                  </a:lnTo>
                  <a:lnTo>
                    <a:pt x="456" y="149"/>
                  </a:lnTo>
                  <a:lnTo>
                    <a:pt x="480" y="145"/>
                  </a:lnTo>
                  <a:lnTo>
                    <a:pt x="492" y="141"/>
                  </a:lnTo>
                  <a:lnTo>
                    <a:pt x="496" y="137"/>
                  </a:lnTo>
                  <a:lnTo>
                    <a:pt x="517" y="121"/>
                  </a:lnTo>
                  <a:lnTo>
                    <a:pt x="525" y="105"/>
                  </a:lnTo>
                  <a:lnTo>
                    <a:pt x="529" y="105"/>
                  </a:lnTo>
                  <a:lnTo>
                    <a:pt x="533" y="101"/>
                  </a:lnTo>
                  <a:lnTo>
                    <a:pt x="541" y="101"/>
                  </a:lnTo>
                  <a:lnTo>
                    <a:pt x="549" y="101"/>
                  </a:lnTo>
                  <a:lnTo>
                    <a:pt x="561" y="109"/>
                  </a:lnTo>
                  <a:lnTo>
                    <a:pt x="577" y="121"/>
                  </a:lnTo>
                  <a:lnTo>
                    <a:pt x="585" y="121"/>
                  </a:lnTo>
                  <a:lnTo>
                    <a:pt x="597" y="121"/>
                  </a:lnTo>
                  <a:lnTo>
                    <a:pt x="609" y="117"/>
                  </a:lnTo>
                  <a:lnTo>
                    <a:pt x="621" y="105"/>
                  </a:lnTo>
                  <a:lnTo>
                    <a:pt x="630" y="97"/>
                  </a:lnTo>
                  <a:lnTo>
                    <a:pt x="638" y="85"/>
                  </a:lnTo>
                  <a:lnTo>
                    <a:pt x="650" y="73"/>
                  </a:lnTo>
                  <a:lnTo>
                    <a:pt x="658" y="53"/>
                  </a:lnTo>
                  <a:lnTo>
                    <a:pt x="662" y="49"/>
                  </a:lnTo>
                  <a:lnTo>
                    <a:pt x="662" y="40"/>
                  </a:lnTo>
                  <a:lnTo>
                    <a:pt x="666" y="32"/>
                  </a:lnTo>
                  <a:lnTo>
                    <a:pt x="682" y="20"/>
                  </a:lnTo>
                  <a:lnTo>
                    <a:pt x="702" y="0"/>
                  </a:lnTo>
                  <a:lnTo>
                    <a:pt x="710" y="0"/>
                  </a:lnTo>
                  <a:lnTo>
                    <a:pt x="718" y="0"/>
                  </a:lnTo>
                  <a:lnTo>
                    <a:pt x="722" y="4"/>
                  </a:lnTo>
                  <a:lnTo>
                    <a:pt x="738" y="4"/>
                  </a:lnTo>
                  <a:lnTo>
                    <a:pt x="751" y="8"/>
                  </a:lnTo>
                  <a:lnTo>
                    <a:pt x="751" y="20"/>
                  </a:lnTo>
                  <a:lnTo>
                    <a:pt x="751" y="32"/>
                  </a:lnTo>
                  <a:lnTo>
                    <a:pt x="734" y="49"/>
                  </a:lnTo>
                  <a:lnTo>
                    <a:pt x="722" y="61"/>
                  </a:lnTo>
                  <a:lnTo>
                    <a:pt x="722" y="73"/>
                  </a:lnTo>
                  <a:lnTo>
                    <a:pt x="722" y="77"/>
                  </a:lnTo>
                  <a:lnTo>
                    <a:pt x="726" y="85"/>
                  </a:lnTo>
                  <a:lnTo>
                    <a:pt x="734" y="97"/>
                  </a:lnTo>
                  <a:lnTo>
                    <a:pt x="738" y="101"/>
                  </a:lnTo>
                  <a:lnTo>
                    <a:pt x="743" y="105"/>
                  </a:lnTo>
                  <a:lnTo>
                    <a:pt x="743" y="109"/>
                  </a:lnTo>
                  <a:lnTo>
                    <a:pt x="751" y="117"/>
                  </a:lnTo>
                  <a:lnTo>
                    <a:pt x="755" y="129"/>
                  </a:lnTo>
                  <a:lnTo>
                    <a:pt x="767" y="137"/>
                  </a:lnTo>
                  <a:lnTo>
                    <a:pt x="771" y="145"/>
                  </a:lnTo>
                  <a:lnTo>
                    <a:pt x="771" y="149"/>
                  </a:lnTo>
                  <a:lnTo>
                    <a:pt x="767" y="166"/>
                  </a:lnTo>
                  <a:lnTo>
                    <a:pt x="755" y="182"/>
                  </a:lnTo>
                  <a:lnTo>
                    <a:pt x="755" y="190"/>
                  </a:lnTo>
                  <a:lnTo>
                    <a:pt x="751" y="190"/>
                  </a:lnTo>
                  <a:lnTo>
                    <a:pt x="751" y="206"/>
                  </a:lnTo>
                  <a:lnTo>
                    <a:pt x="751" y="218"/>
                  </a:lnTo>
                  <a:lnTo>
                    <a:pt x="751" y="226"/>
                  </a:lnTo>
                  <a:lnTo>
                    <a:pt x="751" y="242"/>
                  </a:lnTo>
                  <a:lnTo>
                    <a:pt x="751" y="250"/>
                  </a:lnTo>
                  <a:lnTo>
                    <a:pt x="751" y="262"/>
                  </a:lnTo>
                  <a:lnTo>
                    <a:pt x="718" y="278"/>
                  </a:lnTo>
                  <a:lnTo>
                    <a:pt x="702" y="291"/>
                  </a:lnTo>
                  <a:lnTo>
                    <a:pt x="702" y="299"/>
                  </a:lnTo>
                  <a:lnTo>
                    <a:pt x="698" y="307"/>
                  </a:lnTo>
                  <a:lnTo>
                    <a:pt x="698" y="311"/>
                  </a:lnTo>
                  <a:lnTo>
                    <a:pt x="690" y="315"/>
                  </a:lnTo>
                  <a:lnTo>
                    <a:pt x="682" y="339"/>
                  </a:lnTo>
                  <a:lnTo>
                    <a:pt x="674" y="367"/>
                  </a:lnTo>
                  <a:lnTo>
                    <a:pt x="658" y="391"/>
                  </a:lnTo>
                  <a:lnTo>
                    <a:pt x="638" y="416"/>
                  </a:lnTo>
                  <a:lnTo>
                    <a:pt x="638" y="424"/>
                  </a:lnTo>
                  <a:lnTo>
                    <a:pt x="634" y="432"/>
                  </a:lnTo>
                  <a:lnTo>
                    <a:pt x="630" y="436"/>
                  </a:lnTo>
                  <a:lnTo>
                    <a:pt x="626" y="440"/>
                  </a:lnTo>
                  <a:lnTo>
                    <a:pt x="621" y="444"/>
                  </a:lnTo>
                  <a:lnTo>
                    <a:pt x="613" y="448"/>
                  </a:lnTo>
                  <a:lnTo>
                    <a:pt x="613" y="460"/>
                  </a:lnTo>
                  <a:lnTo>
                    <a:pt x="613" y="480"/>
                  </a:lnTo>
                  <a:lnTo>
                    <a:pt x="621" y="484"/>
                  </a:lnTo>
                  <a:lnTo>
                    <a:pt x="626" y="492"/>
                  </a:lnTo>
                  <a:lnTo>
                    <a:pt x="626" y="508"/>
                  </a:lnTo>
                  <a:lnTo>
                    <a:pt x="626" y="529"/>
                  </a:lnTo>
                  <a:lnTo>
                    <a:pt x="613" y="545"/>
                  </a:lnTo>
                  <a:lnTo>
                    <a:pt x="605" y="569"/>
                  </a:lnTo>
                  <a:lnTo>
                    <a:pt x="585" y="593"/>
                  </a:lnTo>
                  <a:lnTo>
                    <a:pt x="569" y="609"/>
                  </a:lnTo>
                  <a:lnTo>
                    <a:pt x="549" y="609"/>
                  </a:lnTo>
                  <a:lnTo>
                    <a:pt x="529" y="605"/>
                  </a:lnTo>
                  <a:lnTo>
                    <a:pt x="521" y="629"/>
                  </a:lnTo>
                  <a:lnTo>
                    <a:pt x="517" y="634"/>
                  </a:lnTo>
                  <a:lnTo>
                    <a:pt x="517" y="638"/>
                  </a:lnTo>
                  <a:lnTo>
                    <a:pt x="521" y="642"/>
                  </a:lnTo>
                  <a:lnTo>
                    <a:pt x="529" y="646"/>
                  </a:lnTo>
                  <a:lnTo>
                    <a:pt x="541" y="654"/>
                  </a:lnTo>
                  <a:lnTo>
                    <a:pt x="541" y="666"/>
                  </a:lnTo>
                  <a:lnTo>
                    <a:pt x="541" y="678"/>
                  </a:lnTo>
                  <a:lnTo>
                    <a:pt x="517" y="686"/>
                  </a:lnTo>
                  <a:lnTo>
                    <a:pt x="509" y="690"/>
                  </a:lnTo>
                  <a:lnTo>
                    <a:pt x="504" y="694"/>
                  </a:lnTo>
                  <a:lnTo>
                    <a:pt x="492" y="694"/>
                  </a:lnTo>
                  <a:lnTo>
                    <a:pt x="488" y="694"/>
                  </a:lnTo>
                  <a:lnTo>
                    <a:pt x="480" y="690"/>
                  </a:lnTo>
                  <a:lnTo>
                    <a:pt x="476" y="682"/>
                  </a:lnTo>
                  <a:lnTo>
                    <a:pt x="468" y="678"/>
                  </a:lnTo>
                  <a:lnTo>
                    <a:pt x="460" y="678"/>
                  </a:lnTo>
                  <a:lnTo>
                    <a:pt x="444" y="678"/>
                  </a:lnTo>
                  <a:lnTo>
                    <a:pt x="432" y="682"/>
                  </a:lnTo>
                  <a:lnTo>
                    <a:pt x="416" y="686"/>
                  </a:lnTo>
                  <a:lnTo>
                    <a:pt x="408" y="686"/>
                  </a:lnTo>
                  <a:lnTo>
                    <a:pt x="404" y="686"/>
                  </a:lnTo>
                  <a:lnTo>
                    <a:pt x="388" y="686"/>
                  </a:lnTo>
                  <a:lnTo>
                    <a:pt x="375" y="682"/>
                  </a:lnTo>
                  <a:lnTo>
                    <a:pt x="323" y="678"/>
                  </a:lnTo>
                  <a:lnTo>
                    <a:pt x="266" y="674"/>
                  </a:lnTo>
                  <a:lnTo>
                    <a:pt x="262" y="674"/>
                  </a:lnTo>
                  <a:lnTo>
                    <a:pt x="258" y="678"/>
                  </a:lnTo>
                  <a:lnTo>
                    <a:pt x="250" y="682"/>
                  </a:lnTo>
                  <a:lnTo>
                    <a:pt x="250" y="694"/>
                  </a:lnTo>
                  <a:lnTo>
                    <a:pt x="238" y="702"/>
                  </a:lnTo>
                  <a:lnTo>
                    <a:pt x="230" y="718"/>
                  </a:lnTo>
                  <a:lnTo>
                    <a:pt x="218" y="710"/>
                  </a:lnTo>
                  <a:lnTo>
                    <a:pt x="210" y="71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18" name="Freeform 26"/>
            <p:cNvSpPr>
              <a:spLocks/>
            </p:cNvSpPr>
            <p:nvPr/>
          </p:nvSpPr>
          <p:spPr bwMode="auto">
            <a:xfrm>
              <a:off x="5053096" y="4629172"/>
              <a:ext cx="1098550" cy="865823"/>
            </a:xfrm>
            <a:custGeom>
              <a:avLst/>
              <a:gdLst>
                <a:gd name="T0" fmla="*/ 655417187 w 1222"/>
                <a:gd name="T1" fmla="*/ 721084341 h 972"/>
                <a:gd name="T2" fmla="*/ 602887280 w 1222"/>
                <a:gd name="T3" fmla="*/ 671642450 h 972"/>
                <a:gd name="T4" fmla="*/ 589956399 w 1222"/>
                <a:gd name="T5" fmla="*/ 641216805 h 972"/>
                <a:gd name="T6" fmla="*/ 567328256 w 1222"/>
                <a:gd name="T7" fmla="*/ 610030650 h 972"/>
                <a:gd name="T8" fmla="*/ 522071071 w 1222"/>
                <a:gd name="T9" fmla="*/ 579605877 h 972"/>
                <a:gd name="T10" fmla="*/ 501867468 w 1222"/>
                <a:gd name="T11" fmla="*/ 662514582 h 972"/>
                <a:gd name="T12" fmla="*/ 437214747 w 1222"/>
                <a:gd name="T13" fmla="*/ 662514582 h 972"/>
                <a:gd name="T14" fmla="*/ 384683941 w 1222"/>
                <a:gd name="T15" fmla="*/ 659472541 h 972"/>
                <a:gd name="T16" fmla="*/ 374985780 w 1222"/>
                <a:gd name="T17" fmla="*/ 540052364 h 972"/>
                <a:gd name="T18" fmla="*/ 339426755 w 1222"/>
                <a:gd name="T19" fmla="*/ 561350141 h 972"/>
                <a:gd name="T20" fmla="*/ 257803264 w 1222"/>
                <a:gd name="T21" fmla="*/ 597860741 h 972"/>
                <a:gd name="T22" fmla="*/ 195574241 w 1222"/>
                <a:gd name="T23" fmla="*/ 591775786 h 972"/>
                <a:gd name="T24" fmla="*/ 143852514 w 1222"/>
                <a:gd name="T25" fmla="*/ 549180232 h 972"/>
                <a:gd name="T26" fmla="*/ 78391698 w 1222"/>
                <a:gd name="T27" fmla="*/ 573520050 h 972"/>
                <a:gd name="T28" fmla="*/ 42832659 w 1222"/>
                <a:gd name="T29" fmla="*/ 546137319 h 972"/>
                <a:gd name="T30" fmla="*/ 0 w 1222"/>
                <a:gd name="T31" fmla="*/ 484525518 h 972"/>
                <a:gd name="T32" fmla="*/ 22628150 w 1222"/>
                <a:gd name="T33" fmla="*/ 457142678 h 972"/>
                <a:gd name="T34" fmla="*/ 78391698 w 1222"/>
                <a:gd name="T35" fmla="*/ 416829527 h 972"/>
                <a:gd name="T36" fmla="*/ 65460816 w 1222"/>
                <a:gd name="T37" fmla="*/ 355978237 h 972"/>
                <a:gd name="T38" fmla="*/ 29093591 w 1222"/>
                <a:gd name="T39" fmla="*/ 333919949 h 972"/>
                <a:gd name="T40" fmla="*/ 3232721 w 1222"/>
                <a:gd name="T41" fmla="*/ 303494304 h 972"/>
                <a:gd name="T42" fmla="*/ 3232721 w 1222"/>
                <a:gd name="T43" fmla="*/ 276111573 h 972"/>
                <a:gd name="T44" fmla="*/ 65460816 w 1222"/>
                <a:gd name="T45" fmla="*/ 247967459 h 972"/>
                <a:gd name="T46" fmla="*/ 120416191 w 1222"/>
                <a:gd name="T47" fmla="*/ 226669627 h 972"/>
                <a:gd name="T48" fmla="*/ 198806962 w 1222"/>
                <a:gd name="T49" fmla="*/ 193201941 h 972"/>
                <a:gd name="T50" fmla="*/ 221436004 w 1222"/>
                <a:gd name="T51" fmla="*/ 165057827 h 972"/>
                <a:gd name="T52" fmla="*/ 238406943 w 1222"/>
                <a:gd name="T53" fmla="*/ 116377318 h 972"/>
                <a:gd name="T54" fmla="*/ 264267806 w 1222"/>
                <a:gd name="T55" fmla="*/ 88994559 h 972"/>
                <a:gd name="T56" fmla="*/ 323264053 w 1222"/>
                <a:gd name="T57" fmla="*/ 104207382 h 972"/>
                <a:gd name="T58" fmla="*/ 362055798 w 1222"/>
                <a:gd name="T59" fmla="*/ 76064140 h 972"/>
                <a:gd name="T60" fmla="*/ 358823077 w 1222"/>
                <a:gd name="T61" fmla="*/ 18254871 h 972"/>
                <a:gd name="T62" fmla="*/ 427516586 w 1222"/>
                <a:gd name="T63" fmla="*/ 0 h 972"/>
                <a:gd name="T64" fmla="*/ 498634747 w 1222"/>
                <a:gd name="T65" fmla="*/ 76064140 h 972"/>
                <a:gd name="T66" fmla="*/ 528536511 w 1222"/>
                <a:gd name="T67" fmla="*/ 134633054 h 972"/>
                <a:gd name="T68" fmla="*/ 541467392 w 1222"/>
                <a:gd name="T69" fmla="*/ 184074073 h 972"/>
                <a:gd name="T70" fmla="*/ 577026417 w 1222"/>
                <a:gd name="T71" fmla="*/ 208414763 h 972"/>
                <a:gd name="T72" fmla="*/ 616625443 w 1222"/>
                <a:gd name="T73" fmla="*/ 202329809 h 972"/>
                <a:gd name="T74" fmla="*/ 648952646 w 1222"/>
                <a:gd name="T75" fmla="*/ 193201941 h 972"/>
                <a:gd name="T76" fmla="*/ 724110696 w 1222"/>
                <a:gd name="T77" fmla="*/ 220584672 h 972"/>
                <a:gd name="T78" fmla="*/ 791996025 w 1222"/>
                <a:gd name="T79" fmla="*/ 238840463 h 972"/>
                <a:gd name="T80" fmla="*/ 863923153 w 1222"/>
                <a:gd name="T81" fmla="*/ 238840463 h 972"/>
                <a:gd name="T82" fmla="*/ 958477750 w 1222"/>
                <a:gd name="T83" fmla="*/ 241882504 h 972"/>
                <a:gd name="T84" fmla="*/ 958477750 w 1222"/>
                <a:gd name="T85" fmla="*/ 294366436 h 972"/>
                <a:gd name="T86" fmla="*/ 929383941 w 1222"/>
                <a:gd name="T87" fmla="*/ 352935323 h 972"/>
                <a:gd name="T88" fmla="*/ 909987619 w 1222"/>
                <a:gd name="T89" fmla="*/ 395531749 h 972"/>
                <a:gd name="T90" fmla="*/ 935848483 w 1222"/>
                <a:gd name="T91" fmla="*/ 422914481 h 972"/>
                <a:gd name="T92" fmla="*/ 922918500 w 1222"/>
                <a:gd name="T93" fmla="*/ 475398522 h 972"/>
                <a:gd name="T94" fmla="*/ 897057637 w 1222"/>
                <a:gd name="T95" fmla="*/ 496696300 h 972"/>
                <a:gd name="T96" fmla="*/ 876853135 w 1222"/>
                <a:gd name="T97" fmla="*/ 549180232 h 972"/>
                <a:gd name="T98" fmla="*/ 834828670 w 1222"/>
                <a:gd name="T99" fmla="*/ 603945695 h 972"/>
                <a:gd name="T100" fmla="*/ 802502366 w 1222"/>
                <a:gd name="T101" fmla="*/ 674685363 h 972"/>
                <a:gd name="T102" fmla="*/ 753205179 w 1222"/>
                <a:gd name="T103" fmla="*/ 739339205 h 9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22"/>
                <a:gd name="T157" fmla="*/ 0 h 972"/>
                <a:gd name="T158" fmla="*/ 1222 w 1222"/>
                <a:gd name="T159" fmla="*/ 972 h 9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22" h="972">
                  <a:moveTo>
                    <a:pt x="928" y="968"/>
                  </a:moveTo>
                  <a:lnTo>
                    <a:pt x="912" y="964"/>
                  </a:lnTo>
                  <a:lnTo>
                    <a:pt x="851" y="960"/>
                  </a:lnTo>
                  <a:lnTo>
                    <a:pt x="831" y="956"/>
                  </a:lnTo>
                  <a:lnTo>
                    <a:pt x="811" y="948"/>
                  </a:lnTo>
                  <a:lnTo>
                    <a:pt x="799" y="944"/>
                  </a:lnTo>
                  <a:lnTo>
                    <a:pt x="783" y="928"/>
                  </a:lnTo>
                  <a:lnTo>
                    <a:pt x="767" y="911"/>
                  </a:lnTo>
                  <a:lnTo>
                    <a:pt x="750" y="887"/>
                  </a:lnTo>
                  <a:lnTo>
                    <a:pt x="746" y="883"/>
                  </a:lnTo>
                  <a:lnTo>
                    <a:pt x="746" y="875"/>
                  </a:lnTo>
                  <a:lnTo>
                    <a:pt x="742" y="871"/>
                  </a:lnTo>
                  <a:lnTo>
                    <a:pt x="734" y="867"/>
                  </a:lnTo>
                  <a:lnTo>
                    <a:pt x="730" y="855"/>
                  </a:lnTo>
                  <a:lnTo>
                    <a:pt x="730" y="843"/>
                  </a:lnTo>
                  <a:lnTo>
                    <a:pt x="722" y="843"/>
                  </a:lnTo>
                  <a:lnTo>
                    <a:pt x="718" y="839"/>
                  </a:lnTo>
                  <a:lnTo>
                    <a:pt x="714" y="831"/>
                  </a:lnTo>
                  <a:lnTo>
                    <a:pt x="714" y="823"/>
                  </a:lnTo>
                  <a:lnTo>
                    <a:pt x="702" y="802"/>
                  </a:lnTo>
                  <a:lnTo>
                    <a:pt x="698" y="794"/>
                  </a:lnTo>
                  <a:lnTo>
                    <a:pt x="674" y="778"/>
                  </a:lnTo>
                  <a:lnTo>
                    <a:pt x="662" y="762"/>
                  </a:lnTo>
                  <a:lnTo>
                    <a:pt x="650" y="762"/>
                  </a:lnTo>
                  <a:lnTo>
                    <a:pt x="646" y="762"/>
                  </a:lnTo>
                  <a:lnTo>
                    <a:pt x="642" y="766"/>
                  </a:lnTo>
                  <a:lnTo>
                    <a:pt x="638" y="778"/>
                  </a:lnTo>
                  <a:lnTo>
                    <a:pt x="638" y="823"/>
                  </a:lnTo>
                  <a:lnTo>
                    <a:pt x="638" y="867"/>
                  </a:lnTo>
                  <a:lnTo>
                    <a:pt x="621" y="871"/>
                  </a:lnTo>
                  <a:lnTo>
                    <a:pt x="613" y="879"/>
                  </a:lnTo>
                  <a:lnTo>
                    <a:pt x="605" y="875"/>
                  </a:lnTo>
                  <a:lnTo>
                    <a:pt x="593" y="867"/>
                  </a:lnTo>
                  <a:lnTo>
                    <a:pt x="569" y="871"/>
                  </a:lnTo>
                  <a:lnTo>
                    <a:pt x="541" y="871"/>
                  </a:lnTo>
                  <a:lnTo>
                    <a:pt x="537" y="875"/>
                  </a:lnTo>
                  <a:lnTo>
                    <a:pt x="533" y="875"/>
                  </a:lnTo>
                  <a:lnTo>
                    <a:pt x="517" y="875"/>
                  </a:lnTo>
                  <a:lnTo>
                    <a:pt x="480" y="871"/>
                  </a:lnTo>
                  <a:lnTo>
                    <a:pt x="476" y="867"/>
                  </a:lnTo>
                  <a:lnTo>
                    <a:pt x="476" y="847"/>
                  </a:lnTo>
                  <a:lnTo>
                    <a:pt x="476" y="798"/>
                  </a:lnTo>
                  <a:lnTo>
                    <a:pt x="480" y="710"/>
                  </a:lnTo>
                  <a:lnTo>
                    <a:pt x="472" y="710"/>
                  </a:lnTo>
                  <a:lnTo>
                    <a:pt x="464" y="710"/>
                  </a:lnTo>
                  <a:lnTo>
                    <a:pt x="448" y="718"/>
                  </a:lnTo>
                  <a:lnTo>
                    <a:pt x="440" y="726"/>
                  </a:lnTo>
                  <a:lnTo>
                    <a:pt x="436" y="730"/>
                  </a:lnTo>
                  <a:lnTo>
                    <a:pt x="428" y="738"/>
                  </a:lnTo>
                  <a:lnTo>
                    <a:pt x="420" y="738"/>
                  </a:lnTo>
                  <a:lnTo>
                    <a:pt x="408" y="742"/>
                  </a:lnTo>
                  <a:lnTo>
                    <a:pt x="395" y="754"/>
                  </a:lnTo>
                  <a:lnTo>
                    <a:pt x="387" y="758"/>
                  </a:lnTo>
                  <a:lnTo>
                    <a:pt x="327" y="778"/>
                  </a:lnTo>
                  <a:lnTo>
                    <a:pt x="319" y="786"/>
                  </a:lnTo>
                  <a:lnTo>
                    <a:pt x="295" y="786"/>
                  </a:lnTo>
                  <a:lnTo>
                    <a:pt x="274" y="786"/>
                  </a:lnTo>
                  <a:lnTo>
                    <a:pt x="266" y="786"/>
                  </a:lnTo>
                  <a:lnTo>
                    <a:pt x="258" y="778"/>
                  </a:lnTo>
                  <a:lnTo>
                    <a:pt x="242" y="778"/>
                  </a:lnTo>
                  <a:lnTo>
                    <a:pt x="226" y="774"/>
                  </a:lnTo>
                  <a:lnTo>
                    <a:pt x="222" y="766"/>
                  </a:lnTo>
                  <a:lnTo>
                    <a:pt x="214" y="762"/>
                  </a:lnTo>
                  <a:lnTo>
                    <a:pt x="198" y="742"/>
                  </a:lnTo>
                  <a:lnTo>
                    <a:pt x="178" y="722"/>
                  </a:lnTo>
                  <a:lnTo>
                    <a:pt x="149" y="726"/>
                  </a:lnTo>
                  <a:lnTo>
                    <a:pt x="129" y="738"/>
                  </a:lnTo>
                  <a:lnTo>
                    <a:pt x="113" y="742"/>
                  </a:lnTo>
                  <a:lnTo>
                    <a:pt x="97" y="754"/>
                  </a:lnTo>
                  <a:lnTo>
                    <a:pt x="89" y="754"/>
                  </a:lnTo>
                  <a:lnTo>
                    <a:pt x="81" y="742"/>
                  </a:lnTo>
                  <a:lnTo>
                    <a:pt x="57" y="722"/>
                  </a:lnTo>
                  <a:lnTo>
                    <a:pt x="53" y="718"/>
                  </a:lnTo>
                  <a:lnTo>
                    <a:pt x="49" y="714"/>
                  </a:lnTo>
                  <a:lnTo>
                    <a:pt x="36" y="702"/>
                  </a:lnTo>
                  <a:lnTo>
                    <a:pt x="28" y="694"/>
                  </a:lnTo>
                  <a:lnTo>
                    <a:pt x="16" y="665"/>
                  </a:lnTo>
                  <a:lnTo>
                    <a:pt x="0" y="637"/>
                  </a:lnTo>
                  <a:lnTo>
                    <a:pt x="0" y="621"/>
                  </a:lnTo>
                  <a:lnTo>
                    <a:pt x="0" y="617"/>
                  </a:lnTo>
                  <a:lnTo>
                    <a:pt x="12" y="617"/>
                  </a:lnTo>
                  <a:lnTo>
                    <a:pt x="24" y="617"/>
                  </a:lnTo>
                  <a:lnTo>
                    <a:pt x="28" y="601"/>
                  </a:lnTo>
                  <a:lnTo>
                    <a:pt x="45" y="593"/>
                  </a:lnTo>
                  <a:lnTo>
                    <a:pt x="53" y="593"/>
                  </a:lnTo>
                  <a:lnTo>
                    <a:pt x="61" y="589"/>
                  </a:lnTo>
                  <a:lnTo>
                    <a:pt x="81" y="572"/>
                  </a:lnTo>
                  <a:lnTo>
                    <a:pt x="97" y="548"/>
                  </a:lnTo>
                  <a:lnTo>
                    <a:pt x="97" y="524"/>
                  </a:lnTo>
                  <a:lnTo>
                    <a:pt x="97" y="516"/>
                  </a:lnTo>
                  <a:lnTo>
                    <a:pt x="89" y="512"/>
                  </a:lnTo>
                  <a:lnTo>
                    <a:pt x="85" y="488"/>
                  </a:lnTo>
                  <a:lnTo>
                    <a:pt x="81" y="468"/>
                  </a:lnTo>
                  <a:lnTo>
                    <a:pt x="77" y="464"/>
                  </a:lnTo>
                  <a:lnTo>
                    <a:pt x="77" y="451"/>
                  </a:lnTo>
                  <a:lnTo>
                    <a:pt x="73" y="439"/>
                  </a:lnTo>
                  <a:lnTo>
                    <a:pt x="57" y="439"/>
                  </a:lnTo>
                  <a:lnTo>
                    <a:pt x="36" y="439"/>
                  </a:lnTo>
                  <a:lnTo>
                    <a:pt x="28" y="431"/>
                  </a:lnTo>
                  <a:lnTo>
                    <a:pt x="20" y="423"/>
                  </a:lnTo>
                  <a:lnTo>
                    <a:pt x="16" y="415"/>
                  </a:lnTo>
                  <a:lnTo>
                    <a:pt x="12" y="399"/>
                  </a:lnTo>
                  <a:lnTo>
                    <a:pt x="4" y="399"/>
                  </a:lnTo>
                  <a:lnTo>
                    <a:pt x="0" y="395"/>
                  </a:lnTo>
                  <a:lnTo>
                    <a:pt x="0" y="383"/>
                  </a:lnTo>
                  <a:lnTo>
                    <a:pt x="0" y="367"/>
                  </a:lnTo>
                  <a:lnTo>
                    <a:pt x="4" y="363"/>
                  </a:lnTo>
                  <a:lnTo>
                    <a:pt x="24" y="367"/>
                  </a:lnTo>
                  <a:lnTo>
                    <a:pt x="49" y="367"/>
                  </a:lnTo>
                  <a:lnTo>
                    <a:pt x="57" y="363"/>
                  </a:lnTo>
                  <a:lnTo>
                    <a:pt x="61" y="351"/>
                  </a:lnTo>
                  <a:lnTo>
                    <a:pt x="81" y="326"/>
                  </a:lnTo>
                  <a:lnTo>
                    <a:pt x="85" y="314"/>
                  </a:lnTo>
                  <a:lnTo>
                    <a:pt x="101" y="314"/>
                  </a:lnTo>
                  <a:lnTo>
                    <a:pt x="117" y="310"/>
                  </a:lnTo>
                  <a:lnTo>
                    <a:pt x="133" y="306"/>
                  </a:lnTo>
                  <a:lnTo>
                    <a:pt x="149" y="298"/>
                  </a:lnTo>
                  <a:lnTo>
                    <a:pt x="166" y="278"/>
                  </a:lnTo>
                  <a:lnTo>
                    <a:pt x="178" y="262"/>
                  </a:lnTo>
                  <a:lnTo>
                    <a:pt x="206" y="262"/>
                  </a:lnTo>
                  <a:lnTo>
                    <a:pt x="242" y="254"/>
                  </a:lnTo>
                  <a:lnTo>
                    <a:pt x="246" y="254"/>
                  </a:lnTo>
                  <a:lnTo>
                    <a:pt x="258" y="242"/>
                  </a:lnTo>
                  <a:lnTo>
                    <a:pt x="266" y="234"/>
                  </a:lnTo>
                  <a:lnTo>
                    <a:pt x="270" y="221"/>
                  </a:lnTo>
                  <a:lnTo>
                    <a:pt x="270" y="217"/>
                  </a:lnTo>
                  <a:lnTo>
                    <a:pt x="274" y="217"/>
                  </a:lnTo>
                  <a:lnTo>
                    <a:pt x="278" y="201"/>
                  </a:lnTo>
                  <a:lnTo>
                    <a:pt x="278" y="193"/>
                  </a:lnTo>
                  <a:lnTo>
                    <a:pt x="287" y="185"/>
                  </a:lnTo>
                  <a:lnTo>
                    <a:pt x="295" y="177"/>
                  </a:lnTo>
                  <a:lnTo>
                    <a:pt x="295" y="153"/>
                  </a:lnTo>
                  <a:lnTo>
                    <a:pt x="295" y="137"/>
                  </a:lnTo>
                  <a:lnTo>
                    <a:pt x="303" y="133"/>
                  </a:lnTo>
                  <a:lnTo>
                    <a:pt x="307" y="125"/>
                  </a:lnTo>
                  <a:lnTo>
                    <a:pt x="311" y="121"/>
                  </a:lnTo>
                  <a:lnTo>
                    <a:pt x="327" y="117"/>
                  </a:lnTo>
                  <a:lnTo>
                    <a:pt x="343" y="117"/>
                  </a:lnTo>
                  <a:lnTo>
                    <a:pt x="355" y="121"/>
                  </a:lnTo>
                  <a:lnTo>
                    <a:pt x="363" y="129"/>
                  </a:lnTo>
                  <a:lnTo>
                    <a:pt x="387" y="137"/>
                  </a:lnTo>
                  <a:lnTo>
                    <a:pt x="400" y="137"/>
                  </a:lnTo>
                  <a:lnTo>
                    <a:pt x="420" y="137"/>
                  </a:lnTo>
                  <a:lnTo>
                    <a:pt x="424" y="133"/>
                  </a:lnTo>
                  <a:lnTo>
                    <a:pt x="436" y="129"/>
                  </a:lnTo>
                  <a:lnTo>
                    <a:pt x="444" y="117"/>
                  </a:lnTo>
                  <a:lnTo>
                    <a:pt x="448" y="100"/>
                  </a:lnTo>
                  <a:lnTo>
                    <a:pt x="444" y="84"/>
                  </a:lnTo>
                  <a:lnTo>
                    <a:pt x="440" y="68"/>
                  </a:lnTo>
                  <a:lnTo>
                    <a:pt x="440" y="56"/>
                  </a:lnTo>
                  <a:lnTo>
                    <a:pt x="440" y="44"/>
                  </a:lnTo>
                  <a:lnTo>
                    <a:pt x="444" y="24"/>
                  </a:lnTo>
                  <a:lnTo>
                    <a:pt x="448" y="8"/>
                  </a:lnTo>
                  <a:lnTo>
                    <a:pt x="464" y="8"/>
                  </a:lnTo>
                  <a:lnTo>
                    <a:pt x="476" y="0"/>
                  </a:lnTo>
                  <a:lnTo>
                    <a:pt x="500" y="0"/>
                  </a:lnTo>
                  <a:lnTo>
                    <a:pt x="529" y="0"/>
                  </a:lnTo>
                  <a:lnTo>
                    <a:pt x="581" y="20"/>
                  </a:lnTo>
                  <a:lnTo>
                    <a:pt x="601" y="28"/>
                  </a:lnTo>
                  <a:lnTo>
                    <a:pt x="609" y="60"/>
                  </a:lnTo>
                  <a:lnTo>
                    <a:pt x="613" y="92"/>
                  </a:lnTo>
                  <a:lnTo>
                    <a:pt x="617" y="100"/>
                  </a:lnTo>
                  <a:lnTo>
                    <a:pt x="629" y="149"/>
                  </a:lnTo>
                  <a:lnTo>
                    <a:pt x="638" y="153"/>
                  </a:lnTo>
                  <a:lnTo>
                    <a:pt x="646" y="165"/>
                  </a:lnTo>
                  <a:lnTo>
                    <a:pt x="650" y="169"/>
                  </a:lnTo>
                  <a:lnTo>
                    <a:pt x="654" y="177"/>
                  </a:lnTo>
                  <a:lnTo>
                    <a:pt x="654" y="193"/>
                  </a:lnTo>
                  <a:lnTo>
                    <a:pt x="654" y="217"/>
                  </a:lnTo>
                  <a:lnTo>
                    <a:pt x="662" y="226"/>
                  </a:lnTo>
                  <a:lnTo>
                    <a:pt x="670" y="230"/>
                  </a:lnTo>
                  <a:lnTo>
                    <a:pt x="670" y="242"/>
                  </a:lnTo>
                  <a:lnTo>
                    <a:pt x="674" y="254"/>
                  </a:lnTo>
                  <a:lnTo>
                    <a:pt x="686" y="262"/>
                  </a:lnTo>
                  <a:lnTo>
                    <a:pt x="690" y="270"/>
                  </a:lnTo>
                  <a:lnTo>
                    <a:pt x="698" y="270"/>
                  </a:lnTo>
                  <a:lnTo>
                    <a:pt x="714" y="274"/>
                  </a:lnTo>
                  <a:lnTo>
                    <a:pt x="718" y="274"/>
                  </a:lnTo>
                  <a:lnTo>
                    <a:pt x="726" y="274"/>
                  </a:lnTo>
                  <a:lnTo>
                    <a:pt x="742" y="270"/>
                  </a:lnTo>
                  <a:lnTo>
                    <a:pt x="750" y="270"/>
                  </a:lnTo>
                  <a:lnTo>
                    <a:pt x="763" y="266"/>
                  </a:lnTo>
                  <a:lnTo>
                    <a:pt x="767" y="262"/>
                  </a:lnTo>
                  <a:lnTo>
                    <a:pt x="775" y="254"/>
                  </a:lnTo>
                  <a:lnTo>
                    <a:pt x="783" y="254"/>
                  </a:lnTo>
                  <a:lnTo>
                    <a:pt x="803" y="254"/>
                  </a:lnTo>
                  <a:lnTo>
                    <a:pt x="815" y="250"/>
                  </a:lnTo>
                  <a:lnTo>
                    <a:pt x="835" y="266"/>
                  </a:lnTo>
                  <a:lnTo>
                    <a:pt x="851" y="286"/>
                  </a:lnTo>
                  <a:lnTo>
                    <a:pt x="876" y="286"/>
                  </a:lnTo>
                  <a:lnTo>
                    <a:pt x="896" y="290"/>
                  </a:lnTo>
                  <a:lnTo>
                    <a:pt x="916" y="298"/>
                  </a:lnTo>
                  <a:lnTo>
                    <a:pt x="940" y="302"/>
                  </a:lnTo>
                  <a:lnTo>
                    <a:pt x="960" y="306"/>
                  </a:lnTo>
                  <a:lnTo>
                    <a:pt x="972" y="306"/>
                  </a:lnTo>
                  <a:lnTo>
                    <a:pt x="980" y="314"/>
                  </a:lnTo>
                  <a:lnTo>
                    <a:pt x="993" y="326"/>
                  </a:lnTo>
                  <a:lnTo>
                    <a:pt x="1021" y="326"/>
                  </a:lnTo>
                  <a:lnTo>
                    <a:pt x="1045" y="326"/>
                  </a:lnTo>
                  <a:lnTo>
                    <a:pt x="1057" y="318"/>
                  </a:lnTo>
                  <a:lnTo>
                    <a:pt x="1069" y="314"/>
                  </a:lnTo>
                  <a:lnTo>
                    <a:pt x="1093" y="314"/>
                  </a:lnTo>
                  <a:lnTo>
                    <a:pt x="1126" y="310"/>
                  </a:lnTo>
                  <a:lnTo>
                    <a:pt x="1134" y="314"/>
                  </a:lnTo>
                  <a:lnTo>
                    <a:pt x="1142" y="318"/>
                  </a:lnTo>
                  <a:lnTo>
                    <a:pt x="1186" y="318"/>
                  </a:lnTo>
                  <a:lnTo>
                    <a:pt x="1222" y="314"/>
                  </a:lnTo>
                  <a:lnTo>
                    <a:pt x="1218" y="338"/>
                  </a:lnTo>
                  <a:lnTo>
                    <a:pt x="1214" y="351"/>
                  </a:lnTo>
                  <a:lnTo>
                    <a:pt x="1194" y="367"/>
                  </a:lnTo>
                  <a:lnTo>
                    <a:pt x="1186" y="387"/>
                  </a:lnTo>
                  <a:lnTo>
                    <a:pt x="1178" y="403"/>
                  </a:lnTo>
                  <a:lnTo>
                    <a:pt x="1174" y="419"/>
                  </a:lnTo>
                  <a:lnTo>
                    <a:pt x="1166" y="427"/>
                  </a:lnTo>
                  <a:lnTo>
                    <a:pt x="1158" y="431"/>
                  </a:lnTo>
                  <a:lnTo>
                    <a:pt x="1150" y="464"/>
                  </a:lnTo>
                  <a:lnTo>
                    <a:pt x="1146" y="472"/>
                  </a:lnTo>
                  <a:lnTo>
                    <a:pt x="1146" y="488"/>
                  </a:lnTo>
                  <a:lnTo>
                    <a:pt x="1146" y="508"/>
                  </a:lnTo>
                  <a:lnTo>
                    <a:pt x="1138" y="512"/>
                  </a:lnTo>
                  <a:lnTo>
                    <a:pt x="1126" y="520"/>
                  </a:lnTo>
                  <a:lnTo>
                    <a:pt x="1134" y="532"/>
                  </a:lnTo>
                  <a:lnTo>
                    <a:pt x="1134" y="536"/>
                  </a:lnTo>
                  <a:lnTo>
                    <a:pt x="1142" y="544"/>
                  </a:lnTo>
                  <a:lnTo>
                    <a:pt x="1150" y="548"/>
                  </a:lnTo>
                  <a:lnTo>
                    <a:pt x="1158" y="556"/>
                  </a:lnTo>
                  <a:lnTo>
                    <a:pt x="1162" y="572"/>
                  </a:lnTo>
                  <a:lnTo>
                    <a:pt x="1162" y="585"/>
                  </a:lnTo>
                  <a:lnTo>
                    <a:pt x="1162" y="597"/>
                  </a:lnTo>
                  <a:lnTo>
                    <a:pt x="1150" y="609"/>
                  </a:lnTo>
                  <a:lnTo>
                    <a:pt x="1142" y="625"/>
                  </a:lnTo>
                  <a:lnTo>
                    <a:pt x="1134" y="637"/>
                  </a:lnTo>
                  <a:lnTo>
                    <a:pt x="1126" y="645"/>
                  </a:lnTo>
                  <a:lnTo>
                    <a:pt x="1122" y="645"/>
                  </a:lnTo>
                  <a:lnTo>
                    <a:pt x="1114" y="649"/>
                  </a:lnTo>
                  <a:lnTo>
                    <a:pt x="1110" y="653"/>
                  </a:lnTo>
                  <a:lnTo>
                    <a:pt x="1097" y="661"/>
                  </a:lnTo>
                  <a:lnTo>
                    <a:pt x="1097" y="677"/>
                  </a:lnTo>
                  <a:lnTo>
                    <a:pt x="1093" y="694"/>
                  </a:lnTo>
                  <a:lnTo>
                    <a:pt x="1089" y="702"/>
                  </a:lnTo>
                  <a:lnTo>
                    <a:pt x="1085" y="722"/>
                  </a:lnTo>
                  <a:lnTo>
                    <a:pt x="1085" y="742"/>
                  </a:lnTo>
                  <a:lnTo>
                    <a:pt x="1069" y="766"/>
                  </a:lnTo>
                  <a:lnTo>
                    <a:pt x="1057" y="778"/>
                  </a:lnTo>
                  <a:lnTo>
                    <a:pt x="1045" y="786"/>
                  </a:lnTo>
                  <a:lnTo>
                    <a:pt x="1033" y="794"/>
                  </a:lnTo>
                  <a:lnTo>
                    <a:pt x="1029" y="806"/>
                  </a:lnTo>
                  <a:lnTo>
                    <a:pt x="1021" y="815"/>
                  </a:lnTo>
                  <a:lnTo>
                    <a:pt x="1009" y="839"/>
                  </a:lnTo>
                  <a:lnTo>
                    <a:pt x="1001" y="867"/>
                  </a:lnTo>
                  <a:lnTo>
                    <a:pt x="993" y="887"/>
                  </a:lnTo>
                  <a:lnTo>
                    <a:pt x="976" y="907"/>
                  </a:lnTo>
                  <a:lnTo>
                    <a:pt x="976" y="915"/>
                  </a:lnTo>
                  <a:lnTo>
                    <a:pt x="972" y="928"/>
                  </a:lnTo>
                  <a:lnTo>
                    <a:pt x="944" y="964"/>
                  </a:lnTo>
                  <a:lnTo>
                    <a:pt x="932" y="972"/>
                  </a:lnTo>
                  <a:lnTo>
                    <a:pt x="932" y="968"/>
                  </a:lnTo>
                  <a:lnTo>
                    <a:pt x="928" y="96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19" name="Freeform 27"/>
            <p:cNvSpPr>
              <a:spLocks/>
            </p:cNvSpPr>
            <p:nvPr/>
          </p:nvSpPr>
          <p:spPr bwMode="auto">
            <a:xfrm>
              <a:off x="2386096" y="4201125"/>
              <a:ext cx="1123950" cy="1261442"/>
            </a:xfrm>
            <a:custGeom>
              <a:avLst/>
              <a:gdLst>
                <a:gd name="T0" fmla="*/ 2147483647 w 1251"/>
                <a:gd name="T1" fmla="*/ 2147483647 h 1417"/>
                <a:gd name="T2" fmla="*/ 2147483647 w 1251"/>
                <a:gd name="T3" fmla="*/ 2147483647 h 1417"/>
                <a:gd name="T4" fmla="*/ 2147483647 w 1251"/>
                <a:gd name="T5" fmla="*/ 2147483647 h 1417"/>
                <a:gd name="T6" fmla="*/ 2147483647 w 1251"/>
                <a:gd name="T7" fmla="*/ 2147483647 h 1417"/>
                <a:gd name="T8" fmla="*/ 2147483647 w 1251"/>
                <a:gd name="T9" fmla="*/ 2147483647 h 1417"/>
                <a:gd name="T10" fmla="*/ 2147483647 w 1251"/>
                <a:gd name="T11" fmla="*/ 2147483647 h 1417"/>
                <a:gd name="T12" fmla="*/ 2147483647 w 1251"/>
                <a:gd name="T13" fmla="*/ 2147483647 h 1417"/>
                <a:gd name="T14" fmla="*/ 2147483647 w 1251"/>
                <a:gd name="T15" fmla="*/ 2147483647 h 1417"/>
                <a:gd name="T16" fmla="*/ 2147483647 w 1251"/>
                <a:gd name="T17" fmla="*/ 2147483647 h 1417"/>
                <a:gd name="T18" fmla="*/ 2147483647 w 1251"/>
                <a:gd name="T19" fmla="*/ 2147483647 h 1417"/>
                <a:gd name="T20" fmla="*/ 2147483647 w 1251"/>
                <a:gd name="T21" fmla="*/ 2147483647 h 1417"/>
                <a:gd name="T22" fmla="*/ 2147483647 w 1251"/>
                <a:gd name="T23" fmla="*/ 2147483647 h 1417"/>
                <a:gd name="T24" fmla="*/ 2147483647 w 1251"/>
                <a:gd name="T25" fmla="*/ 2147483647 h 1417"/>
                <a:gd name="T26" fmla="*/ 2147483647 w 1251"/>
                <a:gd name="T27" fmla="*/ 2147483647 h 1417"/>
                <a:gd name="T28" fmla="*/ 2147483647 w 1251"/>
                <a:gd name="T29" fmla="*/ 2147483647 h 1417"/>
                <a:gd name="T30" fmla="*/ 2147483647 w 1251"/>
                <a:gd name="T31" fmla="*/ 2147483647 h 1417"/>
                <a:gd name="T32" fmla="*/ 2147483647 w 1251"/>
                <a:gd name="T33" fmla="*/ 2147483647 h 1417"/>
                <a:gd name="T34" fmla="*/ 2147483647 w 1251"/>
                <a:gd name="T35" fmla="*/ 2147483647 h 1417"/>
                <a:gd name="T36" fmla="*/ 2147483647 w 1251"/>
                <a:gd name="T37" fmla="*/ 2147483647 h 1417"/>
                <a:gd name="T38" fmla="*/ 2147483647 w 1251"/>
                <a:gd name="T39" fmla="*/ 2147483647 h 1417"/>
                <a:gd name="T40" fmla="*/ 2147483647 w 1251"/>
                <a:gd name="T41" fmla="*/ 2147483647 h 1417"/>
                <a:gd name="T42" fmla="*/ 2147483647 w 1251"/>
                <a:gd name="T43" fmla="*/ 2147483647 h 1417"/>
                <a:gd name="T44" fmla="*/ 2147483647 w 1251"/>
                <a:gd name="T45" fmla="*/ 2147483647 h 1417"/>
                <a:gd name="T46" fmla="*/ 2147483647 w 1251"/>
                <a:gd name="T47" fmla="*/ 2147483647 h 1417"/>
                <a:gd name="T48" fmla="*/ 2147483647 w 1251"/>
                <a:gd name="T49" fmla="*/ 2147483647 h 1417"/>
                <a:gd name="T50" fmla="*/ 2147483647 w 1251"/>
                <a:gd name="T51" fmla="*/ 2147483647 h 1417"/>
                <a:gd name="T52" fmla="*/ 2147483647 w 1251"/>
                <a:gd name="T53" fmla="*/ 2147483647 h 1417"/>
                <a:gd name="T54" fmla="*/ 2147483647 w 1251"/>
                <a:gd name="T55" fmla="*/ 2147483647 h 1417"/>
                <a:gd name="T56" fmla="*/ 2147483647 w 1251"/>
                <a:gd name="T57" fmla="*/ 2147483647 h 1417"/>
                <a:gd name="T58" fmla="*/ 2147483647 w 1251"/>
                <a:gd name="T59" fmla="*/ 2147483647 h 1417"/>
                <a:gd name="T60" fmla="*/ 2147483647 w 1251"/>
                <a:gd name="T61" fmla="*/ 2147483647 h 1417"/>
                <a:gd name="T62" fmla="*/ 2147483647 w 1251"/>
                <a:gd name="T63" fmla="*/ 2147483647 h 1417"/>
                <a:gd name="T64" fmla="*/ 2147483647 w 1251"/>
                <a:gd name="T65" fmla="*/ 2147483647 h 1417"/>
                <a:gd name="T66" fmla="*/ 2147483647 w 1251"/>
                <a:gd name="T67" fmla="*/ 2147483647 h 1417"/>
                <a:gd name="T68" fmla="*/ 2147483647 w 1251"/>
                <a:gd name="T69" fmla="*/ 2147483647 h 1417"/>
                <a:gd name="T70" fmla="*/ 2147483647 w 1251"/>
                <a:gd name="T71" fmla="*/ 2147483647 h 1417"/>
                <a:gd name="T72" fmla="*/ 2147483647 w 1251"/>
                <a:gd name="T73" fmla="*/ 2147483647 h 1417"/>
                <a:gd name="T74" fmla="*/ 2147483647 w 1251"/>
                <a:gd name="T75" fmla="*/ 2147483647 h 1417"/>
                <a:gd name="T76" fmla="*/ 2147483647 w 1251"/>
                <a:gd name="T77" fmla="*/ 2147483647 h 1417"/>
                <a:gd name="T78" fmla="*/ 2147483647 w 1251"/>
                <a:gd name="T79" fmla="*/ 2147483647 h 1417"/>
                <a:gd name="T80" fmla="*/ 2147483647 w 1251"/>
                <a:gd name="T81" fmla="*/ 2147483647 h 1417"/>
                <a:gd name="T82" fmla="*/ 2147483647 w 1251"/>
                <a:gd name="T83" fmla="*/ 2147483647 h 1417"/>
                <a:gd name="T84" fmla="*/ 2147483647 w 1251"/>
                <a:gd name="T85" fmla="*/ 2147483647 h 1417"/>
                <a:gd name="T86" fmla="*/ 2147483647 w 1251"/>
                <a:gd name="T87" fmla="*/ 2147483647 h 1417"/>
                <a:gd name="T88" fmla="*/ 2147483647 w 1251"/>
                <a:gd name="T89" fmla="*/ 2147483647 h 1417"/>
                <a:gd name="T90" fmla="*/ 2147483647 w 1251"/>
                <a:gd name="T91" fmla="*/ 2147483647 h 1417"/>
                <a:gd name="T92" fmla="*/ 2147483647 w 1251"/>
                <a:gd name="T93" fmla="*/ 2147483647 h 1417"/>
                <a:gd name="T94" fmla="*/ 2147483647 w 1251"/>
                <a:gd name="T95" fmla="*/ 2147483647 h 1417"/>
                <a:gd name="T96" fmla="*/ 2147483647 w 1251"/>
                <a:gd name="T97" fmla="*/ 2147483647 h 1417"/>
                <a:gd name="T98" fmla="*/ 2147483647 w 1251"/>
                <a:gd name="T99" fmla="*/ 2147483647 h 1417"/>
                <a:gd name="T100" fmla="*/ 2147483647 w 1251"/>
                <a:gd name="T101" fmla="*/ 2147483647 h 1417"/>
                <a:gd name="T102" fmla="*/ 2147483647 w 1251"/>
                <a:gd name="T103" fmla="*/ 2147483647 h 1417"/>
                <a:gd name="T104" fmla="*/ 2147483647 w 1251"/>
                <a:gd name="T105" fmla="*/ 2147483647 h 1417"/>
                <a:gd name="T106" fmla="*/ 2147483647 w 1251"/>
                <a:gd name="T107" fmla="*/ 2147483647 h 1417"/>
                <a:gd name="T108" fmla="*/ 2147483647 w 1251"/>
                <a:gd name="T109" fmla="*/ 2147483647 h 1417"/>
                <a:gd name="T110" fmla="*/ 2147483647 w 1251"/>
                <a:gd name="T111" fmla="*/ 2147483647 h 1417"/>
                <a:gd name="T112" fmla="*/ 2147483647 w 1251"/>
                <a:gd name="T113" fmla="*/ 2147483647 h 1417"/>
                <a:gd name="T114" fmla="*/ 2147483647 w 1251"/>
                <a:gd name="T115" fmla="*/ 2147483647 h 1417"/>
                <a:gd name="T116" fmla="*/ 2147483647 w 1251"/>
                <a:gd name="T117" fmla="*/ 2147483647 h 1417"/>
                <a:gd name="T118" fmla="*/ 2147483647 w 1251"/>
                <a:gd name="T119" fmla="*/ 2147483647 h 141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51"/>
                <a:gd name="T181" fmla="*/ 0 h 1417"/>
                <a:gd name="T182" fmla="*/ 1251 w 1251"/>
                <a:gd name="T183" fmla="*/ 1417 h 141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51" h="1417">
                  <a:moveTo>
                    <a:pt x="879" y="1417"/>
                  </a:moveTo>
                  <a:lnTo>
                    <a:pt x="867" y="1413"/>
                  </a:lnTo>
                  <a:lnTo>
                    <a:pt x="859" y="1409"/>
                  </a:lnTo>
                  <a:lnTo>
                    <a:pt x="855" y="1380"/>
                  </a:lnTo>
                  <a:lnTo>
                    <a:pt x="855" y="1336"/>
                  </a:lnTo>
                  <a:lnTo>
                    <a:pt x="867" y="1328"/>
                  </a:lnTo>
                  <a:lnTo>
                    <a:pt x="883" y="1316"/>
                  </a:lnTo>
                  <a:lnTo>
                    <a:pt x="883" y="1304"/>
                  </a:lnTo>
                  <a:lnTo>
                    <a:pt x="883" y="1292"/>
                  </a:lnTo>
                  <a:lnTo>
                    <a:pt x="867" y="1279"/>
                  </a:lnTo>
                  <a:lnTo>
                    <a:pt x="855" y="1267"/>
                  </a:lnTo>
                  <a:lnTo>
                    <a:pt x="851" y="1267"/>
                  </a:lnTo>
                  <a:lnTo>
                    <a:pt x="843" y="1263"/>
                  </a:lnTo>
                  <a:lnTo>
                    <a:pt x="835" y="1263"/>
                  </a:lnTo>
                  <a:lnTo>
                    <a:pt x="831" y="1259"/>
                  </a:lnTo>
                  <a:lnTo>
                    <a:pt x="831" y="1243"/>
                  </a:lnTo>
                  <a:lnTo>
                    <a:pt x="831" y="1223"/>
                  </a:lnTo>
                  <a:lnTo>
                    <a:pt x="831" y="1215"/>
                  </a:lnTo>
                  <a:lnTo>
                    <a:pt x="843" y="1199"/>
                  </a:lnTo>
                  <a:lnTo>
                    <a:pt x="847" y="1195"/>
                  </a:lnTo>
                  <a:lnTo>
                    <a:pt x="855" y="1191"/>
                  </a:lnTo>
                  <a:lnTo>
                    <a:pt x="859" y="1175"/>
                  </a:lnTo>
                  <a:lnTo>
                    <a:pt x="863" y="1170"/>
                  </a:lnTo>
                  <a:lnTo>
                    <a:pt x="863" y="1166"/>
                  </a:lnTo>
                  <a:lnTo>
                    <a:pt x="863" y="1162"/>
                  </a:lnTo>
                  <a:lnTo>
                    <a:pt x="831" y="1122"/>
                  </a:lnTo>
                  <a:lnTo>
                    <a:pt x="815" y="1114"/>
                  </a:lnTo>
                  <a:lnTo>
                    <a:pt x="799" y="1102"/>
                  </a:lnTo>
                  <a:lnTo>
                    <a:pt x="787" y="1102"/>
                  </a:lnTo>
                  <a:lnTo>
                    <a:pt x="787" y="1086"/>
                  </a:lnTo>
                  <a:lnTo>
                    <a:pt x="787" y="1078"/>
                  </a:lnTo>
                  <a:lnTo>
                    <a:pt x="803" y="1066"/>
                  </a:lnTo>
                  <a:lnTo>
                    <a:pt x="823" y="1049"/>
                  </a:lnTo>
                  <a:lnTo>
                    <a:pt x="823" y="1037"/>
                  </a:lnTo>
                  <a:lnTo>
                    <a:pt x="823" y="1025"/>
                  </a:lnTo>
                  <a:lnTo>
                    <a:pt x="795" y="997"/>
                  </a:lnTo>
                  <a:lnTo>
                    <a:pt x="783" y="985"/>
                  </a:lnTo>
                  <a:lnTo>
                    <a:pt x="771" y="985"/>
                  </a:lnTo>
                  <a:lnTo>
                    <a:pt x="750" y="985"/>
                  </a:lnTo>
                  <a:lnTo>
                    <a:pt x="742" y="932"/>
                  </a:lnTo>
                  <a:lnTo>
                    <a:pt x="734" y="864"/>
                  </a:lnTo>
                  <a:lnTo>
                    <a:pt x="730" y="860"/>
                  </a:lnTo>
                  <a:lnTo>
                    <a:pt x="730" y="856"/>
                  </a:lnTo>
                  <a:lnTo>
                    <a:pt x="714" y="848"/>
                  </a:lnTo>
                  <a:lnTo>
                    <a:pt x="698" y="844"/>
                  </a:lnTo>
                  <a:lnTo>
                    <a:pt x="690" y="832"/>
                  </a:lnTo>
                  <a:lnTo>
                    <a:pt x="670" y="815"/>
                  </a:lnTo>
                  <a:lnTo>
                    <a:pt x="658" y="811"/>
                  </a:lnTo>
                  <a:lnTo>
                    <a:pt x="645" y="799"/>
                  </a:lnTo>
                  <a:lnTo>
                    <a:pt x="633" y="787"/>
                  </a:lnTo>
                  <a:lnTo>
                    <a:pt x="613" y="779"/>
                  </a:lnTo>
                  <a:lnTo>
                    <a:pt x="609" y="775"/>
                  </a:lnTo>
                  <a:lnTo>
                    <a:pt x="605" y="767"/>
                  </a:lnTo>
                  <a:lnTo>
                    <a:pt x="597" y="763"/>
                  </a:lnTo>
                  <a:lnTo>
                    <a:pt x="585" y="763"/>
                  </a:lnTo>
                  <a:lnTo>
                    <a:pt x="569" y="739"/>
                  </a:lnTo>
                  <a:lnTo>
                    <a:pt x="557" y="723"/>
                  </a:lnTo>
                  <a:lnTo>
                    <a:pt x="553" y="715"/>
                  </a:lnTo>
                  <a:lnTo>
                    <a:pt x="553" y="711"/>
                  </a:lnTo>
                  <a:lnTo>
                    <a:pt x="537" y="694"/>
                  </a:lnTo>
                  <a:lnTo>
                    <a:pt x="528" y="682"/>
                  </a:lnTo>
                  <a:lnTo>
                    <a:pt x="524" y="670"/>
                  </a:lnTo>
                  <a:lnTo>
                    <a:pt x="524" y="666"/>
                  </a:lnTo>
                  <a:lnTo>
                    <a:pt x="512" y="650"/>
                  </a:lnTo>
                  <a:lnTo>
                    <a:pt x="488" y="630"/>
                  </a:lnTo>
                  <a:lnTo>
                    <a:pt x="468" y="630"/>
                  </a:lnTo>
                  <a:lnTo>
                    <a:pt x="436" y="630"/>
                  </a:lnTo>
                  <a:lnTo>
                    <a:pt x="432" y="630"/>
                  </a:lnTo>
                  <a:lnTo>
                    <a:pt x="424" y="634"/>
                  </a:lnTo>
                  <a:lnTo>
                    <a:pt x="420" y="646"/>
                  </a:lnTo>
                  <a:lnTo>
                    <a:pt x="416" y="654"/>
                  </a:lnTo>
                  <a:lnTo>
                    <a:pt x="416" y="662"/>
                  </a:lnTo>
                  <a:lnTo>
                    <a:pt x="416" y="682"/>
                  </a:lnTo>
                  <a:lnTo>
                    <a:pt x="403" y="682"/>
                  </a:lnTo>
                  <a:lnTo>
                    <a:pt x="395" y="686"/>
                  </a:lnTo>
                  <a:lnTo>
                    <a:pt x="375" y="698"/>
                  </a:lnTo>
                  <a:lnTo>
                    <a:pt x="371" y="702"/>
                  </a:lnTo>
                  <a:lnTo>
                    <a:pt x="363" y="702"/>
                  </a:lnTo>
                  <a:lnTo>
                    <a:pt x="359" y="702"/>
                  </a:lnTo>
                  <a:lnTo>
                    <a:pt x="351" y="698"/>
                  </a:lnTo>
                  <a:lnTo>
                    <a:pt x="335" y="686"/>
                  </a:lnTo>
                  <a:lnTo>
                    <a:pt x="319" y="686"/>
                  </a:lnTo>
                  <a:lnTo>
                    <a:pt x="299" y="686"/>
                  </a:lnTo>
                  <a:lnTo>
                    <a:pt x="282" y="702"/>
                  </a:lnTo>
                  <a:lnTo>
                    <a:pt x="274" y="711"/>
                  </a:lnTo>
                  <a:lnTo>
                    <a:pt x="270" y="731"/>
                  </a:lnTo>
                  <a:lnTo>
                    <a:pt x="258" y="743"/>
                  </a:lnTo>
                  <a:lnTo>
                    <a:pt x="258" y="779"/>
                  </a:lnTo>
                  <a:lnTo>
                    <a:pt x="254" y="811"/>
                  </a:lnTo>
                  <a:lnTo>
                    <a:pt x="246" y="815"/>
                  </a:lnTo>
                  <a:lnTo>
                    <a:pt x="238" y="807"/>
                  </a:lnTo>
                  <a:lnTo>
                    <a:pt x="226" y="799"/>
                  </a:lnTo>
                  <a:lnTo>
                    <a:pt x="190" y="799"/>
                  </a:lnTo>
                  <a:lnTo>
                    <a:pt x="153" y="799"/>
                  </a:lnTo>
                  <a:lnTo>
                    <a:pt x="149" y="795"/>
                  </a:lnTo>
                  <a:lnTo>
                    <a:pt x="137" y="787"/>
                  </a:lnTo>
                  <a:lnTo>
                    <a:pt x="117" y="787"/>
                  </a:lnTo>
                  <a:lnTo>
                    <a:pt x="97" y="787"/>
                  </a:lnTo>
                  <a:lnTo>
                    <a:pt x="85" y="795"/>
                  </a:lnTo>
                  <a:lnTo>
                    <a:pt x="77" y="807"/>
                  </a:lnTo>
                  <a:lnTo>
                    <a:pt x="65" y="799"/>
                  </a:lnTo>
                  <a:lnTo>
                    <a:pt x="61" y="799"/>
                  </a:lnTo>
                  <a:lnTo>
                    <a:pt x="61" y="783"/>
                  </a:lnTo>
                  <a:lnTo>
                    <a:pt x="61" y="767"/>
                  </a:lnTo>
                  <a:lnTo>
                    <a:pt x="44" y="747"/>
                  </a:lnTo>
                  <a:lnTo>
                    <a:pt x="36" y="743"/>
                  </a:lnTo>
                  <a:lnTo>
                    <a:pt x="32" y="735"/>
                  </a:lnTo>
                  <a:lnTo>
                    <a:pt x="28" y="727"/>
                  </a:lnTo>
                  <a:lnTo>
                    <a:pt x="20" y="715"/>
                  </a:lnTo>
                  <a:lnTo>
                    <a:pt x="16" y="711"/>
                  </a:lnTo>
                  <a:lnTo>
                    <a:pt x="12" y="694"/>
                  </a:lnTo>
                  <a:lnTo>
                    <a:pt x="8" y="682"/>
                  </a:lnTo>
                  <a:lnTo>
                    <a:pt x="8" y="674"/>
                  </a:lnTo>
                  <a:lnTo>
                    <a:pt x="0" y="674"/>
                  </a:lnTo>
                  <a:lnTo>
                    <a:pt x="0" y="618"/>
                  </a:lnTo>
                  <a:lnTo>
                    <a:pt x="0" y="561"/>
                  </a:lnTo>
                  <a:lnTo>
                    <a:pt x="8" y="549"/>
                  </a:lnTo>
                  <a:lnTo>
                    <a:pt x="12" y="537"/>
                  </a:lnTo>
                  <a:lnTo>
                    <a:pt x="12" y="517"/>
                  </a:lnTo>
                  <a:lnTo>
                    <a:pt x="16" y="493"/>
                  </a:lnTo>
                  <a:lnTo>
                    <a:pt x="20" y="485"/>
                  </a:lnTo>
                  <a:lnTo>
                    <a:pt x="24" y="481"/>
                  </a:lnTo>
                  <a:lnTo>
                    <a:pt x="28" y="464"/>
                  </a:lnTo>
                  <a:lnTo>
                    <a:pt x="28" y="448"/>
                  </a:lnTo>
                  <a:lnTo>
                    <a:pt x="32" y="440"/>
                  </a:lnTo>
                  <a:lnTo>
                    <a:pt x="36" y="420"/>
                  </a:lnTo>
                  <a:lnTo>
                    <a:pt x="44" y="420"/>
                  </a:lnTo>
                  <a:lnTo>
                    <a:pt x="48" y="408"/>
                  </a:lnTo>
                  <a:lnTo>
                    <a:pt x="61" y="408"/>
                  </a:lnTo>
                  <a:lnTo>
                    <a:pt x="65" y="408"/>
                  </a:lnTo>
                  <a:lnTo>
                    <a:pt x="77" y="420"/>
                  </a:lnTo>
                  <a:lnTo>
                    <a:pt x="85" y="420"/>
                  </a:lnTo>
                  <a:lnTo>
                    <a:pt x="109" y="428"/>
                  </a:lnTo>
                  <a:lnTo>
                    <a:pt x="157" y="428"/>
                  </a:lnTo>
                  <a:lnTo>
                    <a:pt x="165" y="420"/>
                  </a:lnTo>
                  <a:lnTo>
                    <a:pt x="178" y="420"/>
                  </a:lnTo>
                  <a:lnTo>
                    <a:pt x="218" y="420"/>
                  </a:lnTo>
                  <a:lnTo>
                    <a:pt x="258" y="420"/>
                  </a:lnTo>
                  <a:lnTo>
                    <a:pt x="290" y="428"/>
                  </a:lnTo>
                  <a:lnTo>
                    <a:pt x="323" y="428"/>
                  </a:lnTo>
                  <a:lnTo>
                    <a:pt x="347" y="420"/>
                  </a:lnTo>
                  <a:lnTo>
                    <a:pt x="403" y="400"/>
                  </a:lnTo>
                  <a:lnTo>
                    <a:pt x="436" y="400"/>
                  </a:lnTo>
                  <a:lnTo>
                    <a:pt x="464" y="404"/>
                  </a:lnTo>
                  <a:lnTo>
                    <a:pt x="468" y="400"/>
                  </a:lnTo>
                  <a:lnTo>
                    <a:pt x="472" y="400"/>
                  </a:lnTo>
                  <a:lnTo>
                    <a:pt x="557" y="396"/>
                  </a:lnTo>
                  <a:lnTo>
                    <a:pt x="569" y="396"/>
                  </a:lnTo>
                  <a:lnTo>
                    <a:pt x="577" y="408"/>
                  </a:lnTo>
                  <a:lnTo>
                    <a:pt x="577" y="420"/>
                  </a:lnTo>
                  <a:lnTo>
                    <a:pt x="581" y="420"/>
                  </a:lnTo>
                  <a:lnTo>
                    <a:pt x="581" y="428"/>
                  </a:lnTo>
                  <a:lnTo>
                    <a:pt x="605" y="428"/>
                  </a:lnTo>
                  <a:lnTo>
                    <a:pt x="629" y="428"/>
                  </a:lnTo>
                  <a:lnTo>
                    <a:pt x="633" y="420"/>
                  </a:lnTo>
                  <a:lnTo>
                    <a:pt x="637" y="420"/>
                  </a:lnTo>
                  <a:lnTo>
                    <a:pt x="654" y="408"/>
                  </a:lnTo>
                  <a:lnTo>
                    <a:pt x="670" y="392"/>
                  </a:lnTo>
                  <a:lnTo>
                    <a:pt x="674" y="372"/>
                  </a:lnTo>
                  <a:lnTo>
                    <a:pt x="682" y="335"/>
                  </a:lnTo>
                  <a:lnTo>
                    <a:pt x="690" y="335"/>
                  </a:lnTo>
                  <a:lnTo>
                    <a:pt x="694" y="315"/>
                  </a:lnTo>
                  <a:lnTo>
                    <a:pt x="694" y="295"/>
                  </a:lnTo>
                  <a:lnTo>
                    <a:pt x="706" y="283"/>
                  </a:lnTo>
                  <a:lnTo>
                    <a:pt x="710" y="271"/>
                  </a:lnTo>
                  <a:lnTo>
                    <a:pt x="714" y="251"/>
                  </a:lnTo>
                  <a:lnTo>
                    <a:pt x="718" y="230"/>
                  </a:lnTo>
                  <a:lnTo>
                    <a:pt x="722" y="214"/>
                  </a:lnTo>
                  <a:lnTo>
                    <a:pt x="730" y="202"/>
                  </a:lnTo>
                  <a:lnTo>
                    <a:pt x="730" y="162"/>
                  </a:lnTo>
                  <a:lnTo>
                    <a:pt x="734" y="117"/>
                  </a:lnTo>
                  <a:lnTo>
                    <a:pt x="734" y="113"/>
                  </a:lnTo>
                  <a:lnTo>
                    <a:pt x="742" y="97"/>
                  </a:lnTo>
                  <a:lnTo>
                    <a:pt x="771" y="89"/>
                  </a:lnTo>
                  <a:lnTo>
                    <a:pt x="799" y="77"/>
                  </a:lnTo>
                  <a:lnTo>
                    <a:pt x="807" y="77"/>
                  </a:lnTo>
                  <a:lnTo>
                    <a:pt x="823" y="77"/>
                  </a:lnTo>
                  <a:lnTo>
                    <a:pt x="823" y="81"/>
                  </a:lnTo>
                  <a:lnTo>
                    <a:pt x="823" y="97"/>
                  </a:lnTo>
                  <a:lnTo>
                    <a:pt x="831" y="113"/>
                  </a:lnTo>
                  <a:lnTo>
                    <a:pt x="859" y="134"/>
                  </a:lnTo>
                  <a:lnTo>
                    <a:pt x="863" y="134"/>
                  </a:lnTo>
                  <a:lnTo>
                    <a:pt x="875" y="138"/>
                  </a:lnTo>
                  <a:lnTo>
                    <a:pt x="892" y="138"/>
                  </a:lnTo>
                  <a:lnTo>
                    <a:pt x="916" y="138"/>
                  </a:lnTo>
                  <a:lnTo>
                    <a:pt x="920" y="134"/>
                  </a:lnTo>
                  <a:lnTo>
                    <a:pt x="924" y="130"/>
                  </a:lnTo>
                  <a:lnTo>
                    <a:pt x="924" y="113"/>
                  </a:lnTo>
                  <a:lnTo>
                    <a:pt x="924" y="97"/>
                  </a:lnTo>
                  <a:lnTo>
                    <a:pt x="924" y="89"/>
                  </a:lnTo>
                  <a:lnTo>
                    <a:pt x="920" y="81"/>
                  </a:lnTo>
                  <a:lnTo>
                    <a:pt x="920" y="77"/>
                  </a:lnTo>
                  <a:lnTo>
                    <a:pt x="920" y="69"/>
                  </a:lnTo>
                  <a:lnTo>
                    <a:pt x="928" y="57"/>
                  </a:lnTo>
                  <a:lnTo>
                    <a:pt x="944" y="41"/>
                  </a:lnTo>
                  <a:lnTo>
                    <a:pt x="956" y="33"/>
                  </a:lnTo>
                  <a:lnTo>
                    <a:pt x="976" y="25"/>
                  </a:lnTo>
                  <a:lnTo>
                    <a:pt x="1000" y="13"/>
                  </a:lnTo>
                  <a:lnTo>
                    <a:pt x="1017" y="0"/>
                  </a:lnTo>
                  <a:lnTo>
                    <a:pt x="1025" y="0"/>
                  </a:lnTo>
                  <a:lnTo>
                    <a:pt x="1033" y="0"/>
                  </a:lnTo>
                  <a:lnTo>
                    <a:pt x="1049" y="17"/>
                  </a:lnTo>
                  <a:lnTo>
                    <a:pt x="1057" y="33"/>
                  </a:lnTo>
                  <a:lnTo>
                    <a:pt x="1061" y="41"/>
                  </a:lnTo>
                  <a:lnTo>
                    <a:pt x="1069" y="45"/>
                  </a:lnTo>
                  <a:lnTo>
                    <a:pt x="1069" y="53"/>
                  </a:lnTo>
                  <a:lnTo>
                    <a:pt x="1073" y="57"/>
                  </a:lnTo>
                  <a:lnTo>
                    <a:pt x="1073" y="61"/>
                  </a:lnTo>
                  <a:lnTo>
                    <a:pt x="1077" y="65"/>
                  </a:lnTo>
                  <a:lnTo>
                    <a:pt x="1081" y="77"/>
                  </a:lnTo>
                  <a:lnTo>
                    <a:pt x="1085" y="81"/>
                  </a:lnTo>
                  <a:lnTo>
                    <a:pt x="1093" y="93"/>
                  </a:lnTo>
                  <a:lnTo>
                    <a:pt x="1101" y="101"/>
                  </a:lnTo>
                  <a:lnTo>
                    <a:pt x="1101" y="113"/>
                  </a:lnTo>
                  <a:lnTo>
                    <a:pt x="1105" y="134"/>
                  </a:lnTo>
                  <a:lnTo>
                    <a:pt x="1109" y="138"/>
                  </a:lnTo>
                  <a:lnTo>
                    <a:pt x="1113" y="146"/>
                  </a:lnTo>
                  <a:lnTo>
                    <a:pt x="1117" y="162"/>
                  </a:lnTo>
                  <a:lnTo>
                    <a:pt x="1121" y="174"/>
                  </a:lnTo>
                  <a:lnTo>
                    <a:pt x="1117" y="206"/>
                  </a:lnTo>
                  <a:lnTo>
                    <a:pt x="1117" y="230"/>
                  </a:lnTo>
                  <a:lnTo>
                    <a:pt x="1109" y="247"/>
                  </a:lnTo>
                  <a:lnTo>
                    <a:pt x="1105" y="255"/>
                  </a:lnTo>
                  <a:lnTo>
                    <a:pt x="1101" y="287"/>
                  </a:lnTo>
                  <a:lnTo>
                    <a:pt x="1101" y="311"/>
                  </a:lnTo>
                  <a:lnTo>
                    <a:pt x="1117" y="335"/>
                  </a:lnTo>
                  <a:lnTo>
                    <a:pt x="1130" y="347"/>
                  </a:lnTo>
                  <a:lnTo>
                    <a:pt x="1162" y="331"/>
                  </a:lnTo>
                  <a:lnTo>
                    <a:pt x="1182" y="323"/>
                  </a:lnTo>
                  <a:lnTo>
                    <a:pt x="1186" y="323"/>
                  </a:lnTo>
                  <a:lnTo>
                    <a:pt x="1190" y="323"/>
                  </a:lnTo>
                  <a:lnTo>
                    <a:pt x="1194" y="323"/>
                  </a:lnTo>
                  <a:lnTo>
                    <a:pt x="1198" y="331"/>
                  </a:lnTo>
                  <a:lnTo>
                    <a:pt x="1198" y="335"/>
                  </a:lnTo>
                  <a:lnTo>
                    <a:pt x="1198" y="351"/>
                  </a:lnTo>
                  <a:lnTo>
                    <a:pt x="1186" y="380"/>
                  </a:lnTo>
                  <a:lnTo>
                    <a:pt x="1170" y="400"/>
                  </a:lnTo>
                  <a:lnTo>
                    <a:pt x="1166" y="408"/>
                  </a:lnTo>
                  <a:lnTo>
                    <a:pt x="1158" y="420"/>
                  </a:lnTo>
                  <a:lnTo>
                    <a:pt x="1154" y="432"/>
                  </a:lnTo>
                  <a:lnTo>
                    <a:pt x="1150" y="440"/>
                  </a:lnTo>
                  <a:lnTo>
                    <a:pt x="1146" y="448"/>
                  </a:lnTo>
                  <a:lnTo>
                    <a:pt x="1134" y="456"/>
                  </a:lnTo>
                  <a:lnTo>
                    <a:pt x="1134" y="468"/>
                  </a:lnTo>
                  <a:lnTo>
                    <a:pt x="1130" y="485"/>
                  </a:lnTo>
                  <a:lnTo>
                    <a:pt x="1113" y="493"/>
                  </a:lnTo>
                  <a:lnTo>
                    <a:pt x="1101" y="505"/>
                  </a:lnTo>
                  <a:lnTo>
                    <a:pt x="1093" y="509"/>
                  </a:lnTo>
                  <a:lnTo>
                    <a:pt x="1081" y="513"/>
                  </a:lnTo>
                  <a:lnTo>
                    <a:pt x="1081" y="521"/>
                  </a:lnTo>
                  <a:lnTo>
                    <a:pt x="1081" y="529"/>
                  </a:lnTo>
                  <a:lnTo>
                    <a:pt x="1057" y="561"/>
                  </a:lnTo>
                  <a:lnTo>
                    <a:pt x="1049" y="569"/>
                  </a:lnTo>
                  <a:lnTo>
                    <a:pt x="1045" y="573"/>
                  </a:lnTo>
                  <a:lnTo>
                    <a:pt x="1033" y="573"/>
                  </a:lnTo>
                  <a:lnTo>
                    <a:pt x="1005" y="573"/>
                  </a:lnTo>
                  <a:lnTo>
                    <a:pt x="972" y="573"/>
                  </a:lnTo>
                  <a:lnTo>
                    <a:pt x="964" y="581"/>
                  </a:lnTo>
                  <a:lnTo>
                    <a:pt x="952" y="598"/>
                  </a:lnTo>
                  <a:lnTo>
                    <a:pt x="952" y="606"/>
                  </a:lnTo>
                  <a:lnTo>
                    <a:pt x="944" y="618"/>
                  </a:lnTo>
                  <a:lnTo>
                    <a:pt x="944" y="634"/>
                  </a:lnTo>
                  <a:lnTo>
                    <a:pt x="944" y="654"/>
                  </a:lnTo>
                  <a:lnTo>
                    <a:pt x="952" y="662"/>
                  </a:lnTo>
                  <a:lnTo>
                    <a:pt x="952" y="666"/>
                  </a:lnTo>
                  <a:lnTo>
                    <a:pt x="952" y="670"/>
                  </a:lnTo>
                  <a:lnTo>
                    <a:pt x="952" y="674"/>
                  </a:lnTo>
                  <a:lnTo>
                    <a:pt x="944" y="686"/>
                  </a:lnTo>
                  <a:lnTo>
                    <a:pt x="940" y="698"/>
                  </a:lnTo>
                  <a:lnTo>
                    <a:pt x="936" y="715"/>
                  </a:lnTo>
                  <a:lnTo>
                    <a:pt x="928" y="735"/>
                  </a:lnTo>
                  <a:lnTo>
                    <a:pt x="928" y="743"/>
                  </a:lnTo>
                  <a:lnTo>
                    <a:pt x="924" y="747"/>
                  </a:lnTo>
                  <a:lnTo>
                    <a:pt x="920" y="763"/>
                  </a:lnTo>
                  <a:lnTo>
                    <a:pt x="916" y="775"/>
                  </a:lnTo>
                  <a:lnTo>
                    <a:pt x="908" y="783"/>
                  </a:lnTo>
                  <a:lnTo>
                    <a:pt x="892" y="799"/>
                  </a:lnTo>
                  <a:lnTo>
                    <a:pt x="892" y="824"/>
                  </a:lnTo>
                  <a:lnTo>
                    <a:pt x="892" y="848"/>
                  </a:lnTo>
                  <a:lnTo>
                    <a:pt x="900" y="860"/>
                  </a:lnTo>
                  <a:lnTo>
                    <a:pt x="900" y="864"/>
                  </a:lnTo>
                  <a:lnTo>
                    <a:pt x="904" y="884"/>
                  </a:lnTo>
                  <a:lnTo>
                    <a:pt x="908" y="896"/>
                  </a:lnTo>
                  <a:lnTo>
                    <a:pt x="908" y="904"/>
                  </a:lnTo>
                  <a:lnTo>
                    <a:pt x="908" y="912"/>
                  </a:lnTo>
                  <a:lnTo>
                    <a:pt x="900" y="932"/>
                  </a:lnTo>
                  <a:lnTo>
                    <a:pt x="892" y="949"/>
                  </a:lnTo>
                  <a:lnTo>
                    <a:pt x="892" y="957"/>
                  </a:lnTo>
                  <a:lnTo>
                    <a:pt x="892" y="965"/>
                  </a:lnTo>
                  <a:lnTo>
                    <a:pt x="908" y="969"/>
                  </a:lnTo>
                  <a:lnTo>
                    <a:pt x="920" y="977"/>
                  </a:lnTo>
                  <a:lnTo>
                    <a:pt x="928" y="977"/>
                  </a:lnTo>
                  <a:lnTo>
                    <a:pt x="940" y="977"/>
                  </a:lnTo>
                  <a:lnTo>
                    <a:pt x="952" y="993"/>
                  </a:lnTo>
                  <a:lnTo>
                    <a:pt x="960" y="1005"/>
                  </a:lnTo>
                  <a:lnTo>
                    <a:pt x="968" y="1013"/>
                  </a:lnTo>
                  <a:lnTo>
                    <a:pt x="980" y="1017"/>
                  </a:lnTo>
                  <a:lnTo>
                    <a:pt x="988" y="1029"/>
                  </a:lnTo>
                  <a:lnTo>
                    <a:pt x="992" y="1037"/>
                  </a:lnTo>
                  <a:lnTo>
                    <a:pt x="992" y="1049"/>
                  </a:lnTo>
                  <a:lnTo>
                    <a:pt x="992" y="1066"/>
                  </a:lnTo>
                  <a:lnTo>
                    <a:pt x="980" y="1082"/>
                  </a:lnTo>
                  <a:lnTo>
                    <a:pt x="972" y="1102"/>
                  </a:lnTo>
                  <a:lnTo>
                    <a:pt x="972" y="1114"/>
                  </a:lnTo>
                  <a:lnTo>
                    <a:pt x="968" y="1130"/>
                  </a:lnTo>
                  <a:lnTo>
                    <a:pt x="1009" y="1166"/>
                  </a:lnTo>
                  <a:lnTo>
                    <a:pt x="1045" y="1199"/>
                  </a:lnTo>
                  <a:lnTo>
                    <a:pt x="1053" y="1199"/>
                  </a:lnTo>
                  <a:lnTo>
                    <a:pt x="1061" y="1203"/>
                  </a:lnTo>
                  <a:lnTo>
                    <a:pt x="1077" y="1191"/>
                  </a:lnTo>
                  <a:lnTo>
                    <a:pt x="1097" y="1179"/>
                  </a:lnTo>
                  <a:lnTo>
                    <a:pt x="1101" y="1179"/>
                  </a:lnTo>
                  <a:lnTo>
                    <a:pt x="1109" y="1179"/>
                  </a:lnTo>
                  <a:lnTo>
                    <a:pt x="1117" y="1183"/>
                  </a:lnTo>
                  <a:lnTo>
                    <a:pt x="1121" y="1195"/>
                  </a:lnTo>
                  <a:lnTo>
                    <a:pt x="1134" y="1199"/>
                  </a:lnTo>
                  <a:lnTo>
                    <a:pt x="1138" y="1207"/>
                  </a:lnTo>
                  <a:lnTo>
                    <a:pt x="1146" y="1211"/>
                  </a:lnTo>
                  <a:lnTo>
                    <a:pt x="1146" y="1219"/>
                  </a:lnTo>
                  <a:lnTo>
                    <a:pt x="1158" y="1227"/>
                  </a:lnTo>
                  <a:lnTo>
                    <a:pt x="1174" y="1235"/>
                  </a:lnTo>
                  <a:lnTo>
                    <a:pt x="1190" y="1227"/>
                  </a:lnTo>
                  <a:lnTo>
                    <a:pt x="1198" y="1223"/>
                  </a:lnTo>
                  <a:lnTo>
                    <a:pt x="1210" y="1223"/>
                  </a:lnTo>
                  <a:lnTo>
                    <a:pt x="1218" y="1223"/>
                  </a:lnTo>
                  <a:lnTo>
                    <a:pt x="1222" y="1231"/>
                  </a:lnTo>
                  <a:lnTo>
                    <a:pt x="1230" y="1247"/>
                  </a:lnTo>
                  <a:lnTo>
                    <a:pt x="1226" y="1247"/>
                  </a:lnTo>
                  <a:lnTo>
                    <a:pt x="1226" y="1251"/>
                  </a:lnTo>
                  <a:lnTo>
                    <a:pt x="1230" y="1259"/>
                  </a:lnTo>
                  <a:lnTo>
                    <a:pt x="1243" y="1267"/>
                  </a:lnTo>
                  <a:lnTo>
                    <a:pt x="1247" y="1279"/>
                  </a:lnTo>
                  <a:lnTo>
                    <a:pt x="1251" y="1283"/>
                  </a:lnTo>
                  <a:lnTo>
                    <a:pt x="1247" y="1296"/>
                  </a:lnTo>
                  <a:lnTo>
                    <a:pt x="1247" y="1304"/>
                  </a:lnTo>
                  <a:lnTo>
                    <a:pt x="1234" y="1316"/>
                  </a:lnTo>
                  <a:lnTo>
                    <a:pt x="1226" y="1320"/>
                  </a:lnTo>
                  <a:lnTo>
                    <a:pt x="1226" y="1328"/>
                  </a:lnTo>
                  <a:lnTo>
                    <a:pt x="1226" y="1336"/>
                  </a:lnTo>
                  <a:lnTo>
                    <a:pt x="1222" y="1336"/>
                  </a:lnTo>
                  <a:lnTo>
                    <a:pt x="1218" y="1340"/>
                  </a:lnTo>
                  <a:lnTo>
                    <a:pt x="1218" y="1344"/>
                  </a:lnTo>
                  <a:lnTo>
                    <a:pt x="1218" y="1352"/>
                  </a:lnTo>
                  <a:lnTo>
                    <a:pt x="1226" y="1368"/>
                  </a:lnTo>
                  <a:lnTo>
                    <a:pt x="1230" y="1384"/>
                  </a:lnTo>
                  <a:lnTo>
                    <a:pt x="1230" y="1388"/>
                  </a:lnTo>
                  <a:lnTo>
                    <a:pt x="1230" y="1392"/>
                  </a:lnTo>
                  <a:lnTo>
                    <a:pt x="1230" y="1400"/>
                  </a:lnTo>
                  <a:lnTo>
                    <a:pt x="1226" y="1404"/>
                  </a:lnTo>
                  <a:lnTo>
                    <a:pt x="1202" y="1404"/>
                  </a:lnTo>
                  <a:lnTo>
                    <a:pt x="1182" y="1404"/>
                  </a:lnTo>
                  <a:lnTo>
                    <a:pt x="1150" y="1400"/>
                  </a:lnTo>
                  <a:lnTo>
                    <a:pt x="1117" y="1392"/>
                  </a:lnTo>
                  <a:lnTo>
                    <a:pt x="1073" y="1392"/>
                  </a:lnTo>
                  <a:lnTo>
                    <a:pt x="1033" y="1388"/>
                  </a:lnTo>
                  <a:lnTo>
                    <a:pt x="964" y="1404"/>
                  </a:lnTo>
                  <a:lnTo>
                    <a:pt x="912" y="1417"/>
                  </a:lnTo>
                  <a:lnTo>
                    <a:pt x="900" y="1417"/>
                  </a:lnTo>
                  <a:lnTo>
                    <a:pt x="879" y="14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20" name="Freeform 28"/>
            <p:cNvSpPr>
              <a:spLocks/>
            </p:cNvSpPr>
            <p:nvPr/>
          </p:nvSpPr>
          <p:spPr bwMode="auto">
            <a:xfrm>
              <a:off x="1690801" y="2294369"/>
              <a:ext cx="6840650" cy="3053079"/>
            </a:xfrm>
            <a:custGeom>
              <a:avLst/>
              <a:gdLst>
                <a:gd name="T0" fmla="*/ 2147483647 w 7617"/>
                <a:gd name="T1" fmla="*/ 2147483647 h 3429"/>
                <a:gd name="T2" fmla="*/ 2147483647 w 7617"/>
                <a:gd name="T3" fmla="*/ 2147483647 h 3429"/>
                <a:gd name="T4" fmla="*/ 2147483647 w 7617"/>
                <a:gd name="T5" fmla="*/ 2147483647 h 3429"/>
                <a:gd name="T6" fmla="*/ 2147483647 w 7617"/>
                <a:gd name="T7" fmla="*/ 2147483647 h 3429"/>
                <a:gd name="T8" fmla="*/ 2147483647 w 7617"/>
                <a:gd name="T9" fmla="*/ 2147483647 h 3429"/>
                <a:gd name="T10" fmla="*/ 2147483647 w 7617"/>
                <a:gd name="T11" fmla="*/ 2147483647 h 3429"/>
                <a:gd name="T12" fmla="*/ 2147483647 w 7617"/>
                <a:gd name="T13" fmla="*/ 2147483647 h 3429"/>
                <a:gd name="T14" fmla="*/ 2147483647 w 7617"/>
                <a:gd name="T15" fmla="*/ 2147483647 h 3429"/>
                <a:gd name="T16" fmla="*/ 2147483647 w 7617"/>
                <a:gd name="T17" fmla="*/ 2147483647 h 3429"/>
                <a:gd name="T18" fmla="*/ 2147483647 w 7617"/>
                <a:gd name="T19" fmla="*/ 2147483647 h 3429"/>
                <a:gd name="T20" fmla="*/ 2147483647 w 7617"/>
                <a:gd name="T21" fmla="*/ 2147483647 h 3429"/>
                <a:gd name="T22" fmla="*/ 2147483647 w 7617"/>
                <a:gd name="T23" fmla="*/ 2147483647 h 3429"/>
                <a:gd name="T24" fmla="*/ 2147483647 w 7617"/>
                <a:gd name="T25" fmla="*/ 2147483647 h 3429"/>
                <a:gd name="T26" fmla="*/ 2147483647 w 7617"/>
                <a:gd name="T27" fmla="*/ 2147483647 h 3429"/>
                <a:gd name="T28" fmla="*/ 2147483647 w 7617"/>
                <a:gd name="T29" fmla="*/ 2147483647 h 3429"/>
                <a:gd name="T30" fmla="*/ 2147483647 w 7617"/>
                <a:gd name="T31" fmla="*/ 2147483647 h 3429"/>
                <a:gd name="T32" fmla="*/ 2147483647 w 7617"/>
                <a:gd name="T33" fmla="*/ 2147483647 h 3429"/>
                <a:gd name="T34" fmla="*/ 2147483647 w 7617"/>
                <a:gd name="T35" fmla="*/ 2147483647 h 3429"/>
                <a:gd name="T36" fmla="*/ 2147483647 w 7617"/>
                <a:gd name="T37" fmla="*/ 2147483647 h 3429"/>
                <a:gd name="T38" fmla="*/ 2147483647 w 7617"/>
                <a:gd name="T39" fmla="*/ 2147483647 h 3429"/>
                <a:gd name="T40" fmla="*/ 2147483647 w 7617"/>
                <a:gd name="T41" fmla="*/ 2147483647 h 3429"/>
                <a:gd name="T42" fmla="*/ 2147483647 w 7617"/>
                <a:gd name="T43" fmla="*/ 2147483647 h 3429"/>
                <a:gd name="T44" fmla="*/ 2147483647 w 7617"/>
                <a:gd name="T45" fmla="*/ 2147483647 h 3429"/>
                <a:gd name="T46" fmla="*/ 2147483647 w 7617"/>
                <a:gd name="T47" fmla="*/ 2147483647 h 3429"/>
                <a:gd name="T48" fmla="*/ 2147483647 w 7617"/>
                <a:gd name="T49" fmla="*/ 2147483647 h 3429"/>
                <a:gd name="T50" fmla="*/ 2147483647 w 7617"/>
                <a:gd name="T51" fmla="*/ 2147483647 h 3429"/>
                <a:gd name="T52" fmla="*/ 2147483647 w 7617"/>
                <a:gd name="T53" fmla="*/ 2147483647 h 3429"/>
                <a:gd name="T54" fmla="*/ 2147483647 w 7617"/>
                <a:gd name="T55" fmla="*/ 2147483647 h 3429"/>
                <a:gd name="T56" fmla="*/ 2147483647 w 7617"/>
                <a:gd name="T57" fmla="*/ 2147483647 h 3429"/>
                <a:gd name="T58" fmla="*/ 2147483647 w 7617"/>
                <a:gd name="T59" fmla="*/ 2147483647 h 3429"/>
                <a:gd name="T60" fmla="*/ 2147483647 w 7617"/>
                <a:gd name="T61" fmla="*/ 2147483647 h 3429"/>
                <a:gd name="T62" fmla="*/ 2147483647 w 7617"/>
                <a:gd name="T63" fmla="*/ 2147483647 h 3429"/>
                <a:gd name="T64" fmla="*/ 2147483647 w 7617"/>
                <a:gd name="T65" fmla="*/ 2147483647 h 3429"/>
                <a:gd name="T66" fmla="*/ 2147483647 w 7617"/>
                <a:gd name="T67" fmla="*/ 2147483647 h 3429"/>
                <a:gd name="T68" fmla="*/ 2147483647 w 7617"/>
                <a:gd name="T69" fmla="*/ 2147483647 h 3429"/>
                <a:gd name="T70" fmla="*/ 2147483647 w 7617"/>
                <a:gd name="T71" fmla="*/ 2147483647 h 3429"/>
                <a:gd name="T72" fmla="*/ 2147483647 w 7617"/>
                <a:gd name="T73" fmla="*/ 2147483647 h 3429"/>
                <a:gd name="T74" fmla="*/ 2147483647 w 7617"/>
                <a:gd name="T75" fmla="*/ 2147483647 h 3429"/>
                <a:gd name="T76" fmla="*/ 2147483647 w 7617"/>
                <a:gd name="T77" fmla="*/ 2147483647 h 3429"/>
                <a:gd name="T78" fmla="*/ 2147483647 w 7617"/>
                <a:gd name="T79" fmla="*/ 2147483647 h 3429"/>
                <a:gd name="T80" fmla="*/ 2147483647 w 7617"/>
                <a:gd name="T81" fmla="*/ 2147483647 h 3429"/>
                <a:gd name="T82" fmla="*/ 2147483647 w 7617"/>
                <a:gd name="T83" fmla="*/ 2147483647 h 3429"/>
                <a:gd name="T84" fmla="*/ 2147483647 w 7617"/>
                <a:gd name="T85" fmla="*/ 2147483647 h 3429"/>
                <a:gd name="T86" fmla="*/ 2147483647 w 7617"/>
                <a:gd name="T87" fmla="*/ 2147483647 h 3429"/>
                <a:gd name="T88" fmla="*/ 2147483647 w 7617"/>
                <a:gd name="T89" fmla="*/ 2147483647 h 3429"/>
                <a:gd name="T90" fmla="*/ 2147483647 w 7617"/>
                <a:gd name="T91" fmla="*/ 2147483647 h 3429"/>
                <a:gd name="T92" fmla="*/ 2147483647 w 7617"/>
                <a:gd name="T93" fmla="*/ 2147483647 h 3429"/>
                <a:gd name="T94" fmla="*/ 2147483647 w 7617"/>
                <a:gd name="T95" fmla="*/ 2147483647 h 3429"/>
                <a:gd name="T96" fmla="*/ 2147483647 w 7617"/>
                <a:gd name="T97" fmla="*/ 2147483647 h 3429"/>
                <a:gd name="T98" fmla="*/ 2147483647 w 7617"/>
                <a:gd name="T99" fmla="*/ 2147483647 h 3429"/>
                <a:gd name="T100" fmla="*/ 2147483647 w 7617"/>
                <a:gd name="T101" fmla="*/ 2147483647 h 3429"/>
                <a:gd name="T102" fmla="*/ 2147483647 w 7617"/>
                <a:gd name="T103" fmla="*/ 2147483647 h 3429"/>
                <a:gd name="T104" fmla="*/ 2147483647 w 7617"/>
                <a:gd name="T105" fmla="*/ 2147483647 h 3429"/>
                <a:gd name="T106" fmla="*/ 2147483647 w 7617"/>
                <a:gd name="T107" fmla="*/ 2147483647 h 3429"/>
                <a:gd name="T108" fmla="*/ 2147483647 w 7617"/>
                <a:gd name="T109" fmla="*/ 2147483647 h 3429"/>
                <a:gd name="T110" fmla="*/ 2147483647 w 7617"/>
                <a:gd name="T111" fmla="*/ 2147483647 h 3429"/>
                <a:gd name="T112" fmla="*/ 2147483647 w 7617"/>
                <a:gd name="T113" fmla="*/ 2147483647 h 3429"/>
                <a:gd name="T114" fmla="*/ 2147483647 w 7617"/>
                <a:gd name="T115" fmla="*/ 2147483647 h 3429"/>
                <a:gd name="T116" fmla="*/ 2147483647 w 7617"/>
                <a:gd name="T117" fmla="*/ 2147483647 h 3429"/>
                <a:gd name="T118" fmla="*/ 2147483647 w 7617"/>
                <a:gd name="T119" fmla="*/ 2147483647 h 3429"/>
                <a:gd name="T120" fmla="*/ 2147483647 w 7617"/>
                <a:gd name="T121" fmla="*/ 2147483647 h 3429"/>
                <a:gd name="T122" fmla="*/ 2147483647 w 7617"/>
                <a:gd name="T123" fmla="*/ 2147483647 h 342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17"/>
                <a:gd name="T187" fmla="*/ 0 h 3429"/>
                <a:gd name="T188" fmla="*/ 7617 w 7617"/>
                <a:gd name="T189" fmla="*/ 3429 h 342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17" h="3429">
                  <a:moveTo>
                    <a:pt x="93" y="3429"/>
                  </a:moveTo>
                  <a:lnTo>
                    <a:pt x="85" y="3429"/>
                  </a:lnTo>
                  <a:lnTo>
                    <a:pt x="69" y="3429"/>
                  </a:lnTo>
                  <a:lnTo>
                    <a:pt x="53" y="3425"/>
                  </a:lnTo>
                  <a:lnTo>
                    <a:pt x="45" y="3421"/>
                  </a:lnTo>
                  <a:lnTo>
                    <a:pt x="37" y="3409"/>
                  </a:lnTo>
                  <a:lnTo>
                    <a:pt x="33" y="3401"/>
                  </a:lnTo>
                  <a:lnTo>
                    <a:pt x="33" y="3397"/>
                  </a:lnTo>
                  <a:lnTo>
                    <a:pt x="33" y="3389"/>
                  </a:lnTo>
                  <a:lnTo>
                    <a:pt x="33" y="3385"/>
                  </a:lnTo>
                  <a:lnTo>
                    <a:pt x="37" y="3385"/>
                  </a:lnTo>
                  <a:lnTo>
                    <a:pt x="37" y="3365"/>
                  </a:lnTo>
                  <a:lnTo>
                    <a:pt x="37" y="3353"/>
                  </a:lnTo>
                  <a:lnTo>
                    <a:pt x="49" y="3353"/>
                  </a:lnTo>
                  <a:lnTo>
                    <a:pt x="57" y="3353"/>
                  </a:lnTo>
                  <a:lnTo>
                    <a:pt x="61" y="3349"/>
                  </a:lnTo>
                  <a:lnTo>
                    <a:pt x="69" y="3345"/>
                  </a:lnTo>
                  <a:lnTo>
                    <a:pt x="77" y="3341"/>
                  </a:lnTo>
                  <a:lnTo>
                    <a:pt x="89" y="3337"/>
                  </a:lnTo>
                  <a:lnTo>
                    <a:pt x="93" y="3325"/>
                  </a:lnTo>
                  <a:lnTo>
                    <a:pt x="101" y="3317"/>
                  </a:lnTo>
                  <a:lnTo>
                    <a:pt x="105" y="3312"/>
                  </a:lnTo>
                  <a:lnTo>
                    <a:pt x="113" y="3308"/>
                  </a:lnTo>
                  <a:lnTo>
                    <a:pt x="130" y="3304"/>
                  </a:lnTo>
                  <a:lnTo>
                    <a:pt x="138" y="3300"/>
                  </a:lnTo>
                  <a:lnTo>
                    <a:pt x="202" y="3300"/>
                  </a:lnTo>
                  <a:lnTo>
                    <a:pt x="267" y="3296"/>
                  </a:lnTo>
                  <a:lnTo>
                    <a:pt x="267" y="3300"/>
                  </a:lnTo>
                  <a:lnTo>
                    <a:pt x="319" y="3317"/>
                  </a:lnTo>
                  <a:lnTo>
                    <a:pt x="351" y="3325"/>
                  </a:lnTo>
                  <a:lnTo>
                    <a:pt x="368" y="3333"/>
                  </a:lnTo>
                  <a:lnTo>
                    <a:pt x="388" y="3341"/>
                  </a:lnTo>
                  <a:lnTo>
                    <a:pt x="424" y="3341"/>
                  </a:lnTo>
                  <a:lnTo>
                    <a:pt x="452" y="3345"/>
                  </a:lnTo>
                  <a:lnTo>
                    <a:pt x="489" y="3365"/>
                  </a:lnTo>
                  <a:lnTo>
                    <a:pt x="505" y="3373"/>
                  </a:lnTo>
                  <a:lnTo>
                    <a:pt x="521" y="3373"/>
                  </a:lnTo>
                  <a:lnTo>
                    <a:pt x="537" y="3373"/>
                  </a:lnTo>
                  <a:lnTo>
                    <a:pt x="545" y="3365"/>
                  </a:lnTo>
                  <a:lnTo>
                    <a:pt x="553" y="3365"/>
                  </a:lnTo>
                  <a:lnTo>
                    <a:pt x="553" y="3361"/>
                  </a:lnTo>
                  <a:lnTo>
                    <a:pt x="557" y="3361"/>
                  </a:lnTo>
                  <a:lnTo>
                    <a:pt x="557" y="3317"/>
                  </a:lnTo>
                  <a:lnTo>
                    <a:pt x="557" y="3276"/>
                  </a:lnTo>
                  <a:lnTo>
                    <a:pt x="561" y="3260"/>
                  </a:lnTo>
                  <a:lnTo>
                    <a:pt x="561" y="3244"/>
                  </a:lnTo>
                  <a:lnTo>
                    <a:pt x="561" y="3236"/>
                  </a:lnTo>
                  <a:lnTo>
                    <a:pt x="557" y="3220"/>
                  </a:lnTo>
                  <a:lnTo>
                    <a:pt x="549" y="3216"/>
                  </a:lnTo>
                  <a:lnTo>
                    <a:pt x="545" y="3208"/>
                  </a:lnTo>
                  <a:lnTo>
                    <a:pt x="541" y="3195"/>
                  </a:lnTo>
                  <a:lnTo>
                    <a:pt x="537" y="3195"/>
                  </a:lnTo>
                  <a:lnTo>
                    <a:pt x="537" y="3155"/>
                  </a:lnTo>
                  <a:lnTo>
                    <a:pt x="537" y="3119"/>
                  </a:lnTo>
                  <a:lnTo>
                    <a:pt x="545" y="3099"/>
                  </a:lnTo>
                  <a:lnTo>
                    <a:pt x="545" y="3083"/>
                  </a:lnTo>
                  <a:lnTo>
                    <a:pt x="549" y="3083"/>
                  </a:lnTo>
                  <a:lnTo>
                    <a:pt x="553" y="3083"/>
                  </a:lnTo>
                  <a:lnTo>
                    <a:pt x="553" y="3062"/>
                  </a:lnTo>
                  <a:lnTo>
                    <a:pt x="561" y="3050"/>
                  </a:lnTo>
                  <a:lnTo>
                    <a:pt x="573" y="3042"/>
                  </a:lnTo>
                  <a:lnTo>
                    <a:pt x="581" y="3022"/>
                  </a:lnTo>
                  <a:lnTo>
                    <a:pt x="589" y="3014"/>
                  </a:lnTo>
                  <a:lnTo>
                    <a:pt x="593" y="3006"/>
                  </a:lnTo>
                  <a:lnTo>
                    <a:pt x="593" y="3002"/>
                  </a:lnTo>
                  <a:lnTo>
                    <a:pt x="602" y="2998"/>
                  </a:lnTo>
                  <a:lnTo>
                    <a:pt x="606" y="2978"/>
                  </a:lnTo>
                  <a:lnTo>
                    <a:pt x="614" y="2961"/>
                  </a:lnTo>
                  <a:lnTo>
                    <a:pt x="626" y="2949"/>
                  </a:lnTo>
                  <a:lnTo>
                    <a:pt x="634" y="2937"/>
                  </a:lnTo>
                  <a:lnTo>
                    <a:pt x="638" y="2925"/>
                  </a:lnTo>
                  <a:lnTo>
                    <a:pt x="646" y="2917"/>
                  </a:lnTo>
                  <a:lnTo>
                    <a:pt x="662" y="2893"/>
                  </a:lnTo>
                  <a:lnTo>
                    <a:pt x="666" y="2885"/>
                  </a:lnTo>
                  <a:lnTo>
                    <a:pt x="666" y="2861"/>
                  </a:lnTo>
                  <a:lnTo>
                    <a:pt x="666" y="2824"/>
                  </a:lnTo>
                  <a:lnTo>
                    <a:pt x="678" y="2824"/>
                  </a:lnTo>
                  <a:lnTo>
                    <a:pt x="682" y="2812"/>
                  </a:lnTo>
                  <a:lnTo>
                    <a:pt x="682" y="2804"/>
                  </a:lnTo>
                  <a:lnTo>
                    <a:pt x="682" y="2796"/>
                  </a:lnTo>
                  <a:lnTo>
                    <a:pt x="678" y="2796"/>
                  </a:lnTo>
                  <a:lnTo>
                    <a:pt x="666" y="2792"/>
                  </a:lnTo>
                  <a:lnTo>
                    <a:pt x="666" y="2776"/>
                  </a:lnTo>
                  <a:lnTo>
                    <a:pt x="666" y="2764"/>
                  </a:lnTo>
                  <a:lnTo>
                    <a:pt x="658" y="2756"/>
                  </a:lnTo>
                  <a:lnTo>
                    <a:pt x="642" y="2748"/>
                  </a:lnTo>
                  <a:lnTo>
                    <a:pt x="638" y="2723"/>
                  </a:lnTo>
                  <a:lnTo>
                    <a:pt x="634" y="2695"/>
                  </a:lnTo>
                  <a:lnTo>
                    <a:pt x="630" y="2695"/>
                  </a:lnTo>
                  <a:lnTo>
                    <a:pt x="626" y="2691"/>
                  </a:lnTo>
                  <a:lnTo>
                    <a:pt x="622" y="2679"/>
                  </a:lnTo>
                  <a:lnTo>
                    <a:pt x="614" y="2671"/>
                  </a:lnTo>
                  <a:lnTo>
                    <a:pt x="614" y="2639"/>
                  </a:lnTo>
                  <a:lnTo>
                    <a:pt x="614" y="2606"/>
                  </a:lnTo>
                  <a:lnTo>
                    <a:pt x="626" y="2558"/>
                  </a:lnTo>
                  <a:lnTo>
                    <a:pt x="634" y="2510"/>
                  </a:lnTo>
                  <a:lnTo>
                    <a:pt x="634" y="2502"/>
                  </a:lnTo>
                  <a:lnTo>
                    <a:pt x="638" y="2498"/>
                  </a:lnTo>
                  <a:lnTo>
                    <a:pt x="642" y="2485"/>
                  </a:lnTo>
                  <a:lnTo>
                    <a:pt x="646" y="2469"/>
                  </a:lnTo>
                  <a:lnTo>
                    <a:pt x="654" y="2465"/>
                  </a:lnTo>
                  <a:lnTo>
                    <a:pt x="662" y="2461"/>
                  </a:lnTo>
                  <a:lnTo>
                    <a:pt x="666" y="2453"/>
                  </a:lnTo>
                  <a:lnTo>
                    <a:pt x="678" y="2437"/>
                  </a:lnTo>
                  <a:lnTo>
                    <a:pt x="694" y="2425"/>
                  </a:lnTo>
                  <a:lnTo>
                    <a:pt x="706" y="2405"/>
                  </a:lnTo>
                  <a:lnTo>
                    <a:pt x="723" y="2405"/>
                  </a:lnTo>
                  <a:lnTo>
                    <a:pt x="743" y="2405"/>
                  </a:lnTo>
                  <a:lnTo>
                    <a:pt x="759" y="2389"/>
                  </a:lnTo>
                  <a:lnTo>
                    <a:pt x="767" y="2385"/>
                  </a:lnTo>
                  <a:lnTo>
                    <a:pt x="775" y="2376"/>
                  </a:lnTo>
                  <a:lnTo>
                    <a:pt x="787" y="2368"/>
                  </a:lnTo>
                  <a:lnTo>
                    <a:pt x="803" y="2364"/>
                  </a:lnTo>
                  <a:lnTo>
                    <a:pt x="819" y="2360"/>
                  </a:lnTo>
                  <a:lnTo>
                    <a:pt x="852" y="2340"/>
                  </a:lnTo>
                  <a:lnTo>
                    <a:pt x="876" y="2316"/>
                  </a:lnTo>
                  <a:lnTo>
                    <a:pt x="900" y="2300"/>
                  </a:lnTo>
                  <a:lnTo>
                    <a:pt x="924" y="2292"/>
                  </a:lnTo>
                  <a:lnTo>
                    <a:pt x="928" y="2280"/>
                  </a:lnTo>
                  <a:lnTo>
                    <a:pt x="936" y="2272"/>
                  </a:lnTo>
                  <a:lnTo>
                    <a:pt x="948" y="2268"/>
                  </a:lnTo>
                  <a:lnTo>
                    <a:pt x="965" y="2259"/>
                  </a:lnTo>
                  <a:lnTo>
                    <a:pt x="977" y="2259"/>
                  </a:lnTo>
                  <a:lnTo>
                    <a:pt x="993" y="2259"/>
                  </a:lnTo>
                  <a:lnTo>
                    <a:pt x="1005" y="2251"/>
                  </a:lnTo>
                  <a:lnTo>
                    <a:pt x="1025" y="2243"/>
                  </a:lnTo>
                  <a:lnTo>
                    <a:pt x="1033" y="2243"/>
                  </a:lnTo>
                  <a:lnTo>
                    <a:pt x="1045" y="2235"/>
                  </a:lnTo>
                  <a:lnTo>
                    <a:pt x="1049" y="2231"/>
                  </a:lnTo>
                  <a:lnTo>
                    <a:pt x="1053" y="2227"/>
                  </a:lnTo>
                  <a:lnTo>
                    <a:pt x="1061" y="2223"/>
                  </a:lnTo>
                  <a:lnTo>
                    <a:pt x="1074" y="2219"/>
                  </a:lnTo>
                  <a:lnTo>
                    <a:pt x="1086" y="2199"/>
                  </a:lnTo>
                  <a:lnTo>
                    <a:pt x="1106" y="2179"/>
                  </a:lnTo>
                  <a:lnTo>
                    <a:pt x="1126" y="2171"/>
                  </a:lnTo>
                  <a:lnTo>
                    <a:pt x="1142" y="2159"/>
                  </a:lnTo>
                  <a:lnTo>
                    <a:pt x="1150" y="2155"/>
                  </a:lnTo>
                  <a:lnTo>
                    <a:pt x="1162" y="2151"/>
                  </a:lnTo>
                  <a:lnTo>
                    <a:pt x="1191" y="2151"/>
                  </a:lnTo>
                  <a:lnTo>
                    <a:pt x="1207" y="2151"/>
                  </a:lnTo>
                  <a:lnTo>
                    <a:pt x="1211" y="2155"/>
                  </a:lnTo>
                  <a:lnTo>
                    <a:pt x="1219" y="2159"/>
                  </a:lnTo>
                  <a:lnTo>
                    <a:pt x="1227" y="2159"/>
                  </a:lnTo>
                  <a:lnTo>
                    <a:pt x="1239" y="2159"/>
                  </a:lnTo>
                  <a:lnTo>
                    <a:pt x="1251" y="2147"/>
                  </a:lnTo>
                  <a:lnTo>
                    <a:pt x="1263" y="2130"/>
                  </a:lnTo>
                  <a:lnTo>
                    <a:pt x="1259" y="2098"/>
                  </a:lnTo>
                  <a:lnTo>
                    <a:pt x="1259" y="2062"/>
                  </a:lnTo>
                  <a:lnTo>
                    <a:pt x="1243" y="2046"/>
                  </a:lnTo>
                  <a:lnTo>
                    <a:pt x="1211" y="2021"/>
                  </a:lnTo>
                  <a:lnTo>
                    <a:pt x="1211" y="2013"/>
                  </a:lnTo>
                  <a:lnTo>
                    <a:pt x="1211" y="2009"/>
                  </a:lnTo>
                  <a:lnTo>
                    <a:pt x="1199" y="2001"/>
                  </a:lnTo>
                  <a:lnTo>
                    <a:pt x="1191" y="1997"/>
                  </a:lnTo>
                  <a:lnTo>
                    <a:pt x="1174" y="1997"/>
                  </a:lnTo>
                  <a:lnTo>
                    <a:pt x="1158" y="1997"/>
                  </a:lnTo>
                  <a:lnTo>
                    <a:pt x="1150" y="1989"/>
                  </a:lnTo>
                  <a:lnTo>
                    <a:pt x="1146" y="1989"/>
                  </a:lnTo>
                  <a:lnTo>
                    <a:pt x="1142" y="1977"/>
                  </a:lnTo>
                  <a:lnTo>
                    <a:pt x="1142" y="1965"/>
                  </a:lnTo>
                  <a:lnTo>
                    <a:pt x="1138" y="1961"/>
                  </a:lnTo>
                  <a:lnTo>
                    <a:pt x="1126" y="1913"/>
                  </a:lnTo>
                  <a:lnTo>
                    <a:pt x="1106" y="1868"/>
                  </a:lnTo>
                  <a:lnTo>
                    <a:pt x="1094" y="1852"/>
                  </a:lnTo>
                  <a:lnTo>
                    <a:pt x="1086" y="1828"/>
                  </a:lnTo>
                  <a:lnTo>
                    <a:pt x="1086" y="1812"/>
                  </a:lnTo>
                  <a:lnTo>
                    <a:pt x="1086" y="1796"/>
                  </a:lnTo>
                  <a:lnTo>
                    <a:pt x="1069" y="1763"/>
                  </a:lnTo>
                  <a:lnTo>
                    <a:pt x="1057" y="1747"/>
                  </a:lnTo>
                  <a:lnTo>
                    <a:pt x="1049" y="1743"/>
                  </a:lnTo>
                  <a:lnTo>
                    <a:pt x="1045" y="1743"/>
                  </a:lnTo>
                  <a:lnTo>
                    <a:pt x="1041" y="1735"/>
                  </a:lnTo>
                  <a:lnTo>
                    <a:pt x="1041" y="1727"/>
                  </a:lnTo>
                  <a:lnTo>
                    <a:pt x="1029" y="1723"/>
                  </a:lnTo>
                  <a:lnTo>
                    <a:pt x="1025" y="1723"/>
                  </a:lnTo>
                  <a:lnTo>
                    <a:pt x="1021" y="1711"/>
                  </a:lnTo>
                  <a:lnTo>
                    <a:pt x="1013" y="1707"/>
                  </a:lnTo>
                  <a:lnTo>
                    <a:pt x="997" y="1687"/>
                  </a:lnTo>
                  <a:lnTo>
                    <a:pt x="977" y="1670"/>
                  </a:lnTo>
                  <a:lnTo>
                    <a:pt x="969" y="1658"/>
                  </a:lnTo>
                  <a:lnTo>
                    <a:pt x="961" y="1646"/>
                  </a:lnTo>
                  <a:lnTo>
                    <a:pt x="948" y="1638"/>
                  </a:lnTo>
                  <a:lnTo>
                    <a:pt x="940" y="1630"/>
                  </a:lnTo>
                  <a:lnTo>
                    <a:pt x="940" y="1622"/>
                  </a:lnTo>
                  <a:lnTo>
                    <a:pt x="940" y="1618"/>
                  </a:lnTo>
                  <a:lnTo>
                    <a:pt x="932" y="1614"/>
                  </a:lnTo>
                  <a:lnTo>
                    <a:pt x="924" y="1606"/>
                  </a:lnTo>
                  <a:lnTo>
                    <a:pt x="916" y="1598"/>
                  </a:lnTo>
                  <a:lnTo>
                    <a:pt x="912" y="1590"/>
                  </a:lnTo>
                  <a:lnTo>
                    <a:pt x="908" y="1582"/>
                  </a:lnTo>
                  <a:lnTo>
                    <a:pt x="900" y="1570"/>
                  </a:lnTo>
                  <a:lnTo>
                    <a:pt x="892" y="1562"/>
                  </a:lnTo>
                  <a:lnTo>
                    <a:pt x="888" y="1553"/>
                  </a:lnTo>
                  <a:lnTo>
                    <a:pt x="888" y="1517"/>
                  </a:lnTo>
                  <a:lnTo>
                    <a:pt x="888" y="1481"/>
                  </a:lnTo>
                  <a:lnTo>
                    <a:pt x="892" y="1465"/>
                  </a:lnTo>
                  <a:lnTo>
                    <a:pt x="900" y="1449"/>
                  </a:lnTo>
                  <a:lnTo>
                    <a:pt x="900" y="1440"/>
                  </a:lnTo>
                  <a:lnTo>
                    <a:pt x="908" y="1436"/>
                  </a:lnTo>
                  <a:lnTo>
                    <a:pt x="908" y="1396"/>
                  </a:lnTo>
                  <a:lnTo>
                    <a:pt x="900" y="1360"/>
                  </a:lnTo>
                  <a:lnTo>
                    <a:pt x="892" y="1360"/>
                  </a:lnTo>
                  <a:lnTo>
                    <a:pt x="888" y="1364"/>
                  </a:lnTo>
                  <a:lnTo>
                    <a:pt x="888" y="1356"/>
                  </a:lnTo>
                  <a:lnTo>
                    <a:pt x="884" y="1348"/>
                  </a:lnTo>
                  <a:lnTo>
                    <a:pt x="880" y="1344"/>
                  </a:lnTo>
                  <a:lnTo>
                    <a:pt x="876" y="1340"/>
                  </a:lnTo>
                  <a:lnTo>
                    <a:pt x="872" y="1323"/>
                  </a:lnTo>
                  <a:lnTo>
                    <a:pt x="864" y="1311"/>
                  </a:lnTo>
                  <a:lnTo>
                    <a:pt x="860" y="1303"/>
                  </a:lnTo>
                  <a:lnTo>
                    <a:pt x="856" y="1295"/>
                  </a:lnTo>
                  <a:lnTo>
                    <a:pt x="852" y="1279"/>
                  </a:lnTo>
                  <a:lnTo>
                    <a:pt x="848" y="1271"/>
                  </a:lnTo>
                  <a:lnTo>
                    <a:pt x="836" y="1259"/>
                  </a:lnTo>
                  <a:lnTo>
                    <a:pt x="827" y="1255"/>
                  </a:lnTo>
                  <a:lnTo>
                    <a:pt x="827" y="1235"/>
                  </a:lnTo>
                  <a:lnTo>
                    <a:pt x="823" y="1219"/>
                  </a:lnTo>
                  <a:lnTo>
                    <a:pt x="819" y="1211"/>
                  </a:lnTo>
                  <a:lnTo>
                    <a:pt x="811" y="1202"/>
                  </a:lnTo>
                  <a:lnTo>
                    <a:pt x="807" y="1182"/>
                  </a:lnTo>
                  <a:lnTo>
                    <a:pt x="803" y="1154"/>
                  </a:lnTo>
                  <a:lnTo>
                    <a:pt x="799" y="1142"/>
                  </a:lnTo>
                  <a:lnTo>
                    <a:pt x="795" y="1130"/>
                  </a:lnTo>
                  <a:lnTo>
                    <a:pt x="795" y="1122"/>
                  </a:lnTo>
                  <a:lnTo>
                    <a:pt x="795" y="1110"/>
                  </a:lnTo>
                  <a:lnTo>
                    <a:pt x="787" y="1110"/>
                  </a:lnTo>
                  <a:lnTo>
                    <a:pt x="771" y="1106"/>
                  </a:lnTo>
                  <a:lnTo>
                    <a:pt x="767" y="1077"/>
                  </a:lnTo>
                  <a:lnTo>
                    <a:pt x="759" y="1053"/>
                  </a:lnTo>
                  <a:lnTo>
                    <a:pt x="759" y="1033"/>
                  </a:lnTo>
                  <a:lnTo>
                    <a:pt x="759" y="1017"/>
                  </a:lnTo>
                  <a:lnTo>
                    <a:pt x="767" y="997"/>
                  </a:lnTo>
                  <a:lnTo>
                    <a:pt x="775" y="985"/>
                  </a:lnTo>
                  <a:lnTo>
                    <a:pt x="783" y="977"/>
                  </a:lnTo>
                  <a:lnTo>
                    <a:pt x="787" y="977"/>
                  </a:lnTo>
                  <a:lnTo>
                    <a:pt x="787" y="968"/>
                  </a:lnTo>
                  <a:lnTo>
                    <a:pt x="787" y="964"/>
                  </a:lnTo>
                  <a:lnTo>
                    <a:pt x="787" y="940"/>
                  </a:lnTo>
                  <a:lnTo>
                    <a:pt x="787" y="908"/>
                  </a:lnTo>
                  <a:lnTo>
                    <a:pt x="799" y="896"/>
                  </a:lnTo>
                  <a:lnTo>
                    <a:pt x="803" y="884"/>
                  </a:lnTo>
                  <a:lnTo>
                    <a:pt x="819" y="843"/>
                  </a:lnTo>
                  <a:lnTo>
                    <a:pt x="823" y="827"/>
                  </a:lnTo>
                  <a:lnTo>
                    <a:pt x="827" y="815"/>
                  </a:lnTo>
                  <a:lnTo>
                    <a:pt x="827" y="795"/>
                  </a:lnTo>
                  <a:lnTo>
                    <a:pt x="827" y="775"/>
                  </a:lnTo>
                  <a:lnTo>
                    <a:pt x="827" y="751"/>
                  </a:lnTo>
                  <a:lnTo>
                    <a:pt x="811" y="734"/>
                  </a:lnTo>
                  <a:lnTo>
                    <a:pt x="799" y="718"/>
                  </a:lnTo>
                  <a:lnTo>
                    <a:pt x="767" y="706"/>
                  </a:lnTo>
                  <a:lnTo>
                    <a:pt x="739" y="698"/>
                  </a:lnTo>
                  <a:lnTo>
                    <a:pt x="674" y="698"/>
                  </a:lnTo>
                  <a:lnTo>
                    <a:pt x="606" y="694"/>
                  </a:lnTo>
                  <a:lnTo>
                    <a:pt x="557" y="702"/>
                  </a:lnTo>
                  <a:lnTo>
                    <a:pt x="537" y="702"/>
                  </a:lnTo>
                  <a:lnTo>
                    <a:pt x="525" y="702"/>
                  </a:lnTo>
                  <a:lnTo>
                    <a:pt x="517" y="698"/>
                  </a:lnTo>
                  <a:lnTo>
                    <a:pt x="501" y="698"/>
                  </a:lnTo>
                  <a:lnTo>
                    <a:pt x="485" y="698"/>
                  </a:lnTo>
                  <a:lnTo>
                    <a:pt x="476" y="706"/>
                  </a:lnTo>
                  <a:lnTo>
                    <a:pt x="464" y="710"/>
                  </a:lnTo>
                  <a:lnTo>
                    <a:pt x="464" y="751"/>
                  </a:lnTo>
                  <a:lnTo>
                    <a:pt x="464" y="795"/>
                  </a:lnTo>
                  <a:lnTo>
                    <a:pt x="440" y="815"/>
                  </a:lnTo>
                  <a:lnTo>
                    <a:pt x="428" y="831"/>
                  </a:lnTo>
                  <a:lnTo>
                    <a:pt x="400" y="831"/>
                  </a:lnTo>
                  <a:lnTo>
                    <a:pt x="368" y="831"/>
                  </a:lnTo>
                  <a:lnTo>
                    <a:pt x="355" y="831"/>
                  </a:lnTo>
                  <a:lnTo>
                    <a:pt x="343" y="831"/>
                  </a:lnTo>
                  <a:lnTo>
                    <a:pt x="343" y="827"/>
                  </a:lnTo>
                  <a:lnTo>
                    <a:pt x="335" y="827"/>
                  </a:lnTo>
                  <a:lnTo>
                    <a:pt x="327" y="827"/>
                  </a:lnTo>
                  <a:lnTo>
                    <a:pt x="319" y="827"/>
                  </a:lnTo>
                  <a:lnTo>
                    <a:pt x="299" y="835"/>
                  </a:lnTo>
                  <a:lnTo>
                    <a:pt x="295" y="847"/>
                  </a:lnTo>
                  <a:lnTo>
                    <a:pt x="295" y="851"/>
                  </a:lnTo>
                  <a:lnTo>
                    <a:pt x="299" y="855"/>
                  </a:lnTo>
                  <a:lnTo>
                    <a:pt x="287" y="855"/>
                  </a:lnTo>
                  <a:lnTo>
                    <a:pt x="267" y="855"/>
                  </a:lnTo>
                  <a:lnTo>
                    <a:pt x="267" y="835"/>
                  </a:lnTo>
                  <a:lnTo>
                    <a:pt x="267" y="823"/>
                  </a:lnTo>
                  <a:lnTo>
                    <a:pt x="263" y="815"/>
                  </a:lnTo>
                  <a:lnTo>
                    <a:pt x="263" y="811"/>
                  </a:lnTo>
                  <a:lnTo>
                    <a:pt x="255" y="811"/>
                  </a:lnTo>
                  <a:lnTo>
                    <a:pt x="255" y="795"/>
                  </a:lnTo>
                  <a:lnTo>
                    <a:pt x="263" y="775"/>
                  </a:lnTo>
                  <a:lnTo>
                    <a:pt x="271" y="771"/>
                  </a:lnTo>
                  <a:lnTo>
                    <a:pt x="283" y="759"/>
                  </a:lnTo>
                  <a:lnTo>
                    <a:pt x="299" y="755"/>
                  </a:lnTo>
                  <a:lnTo>
                    <a:pt x="315" y="751"/>
                  </a:lnTo>
                  <a:lnTo>
                    <a:pt x="327" y="751"/>
                  </a:lnTo>
                  <a:lnTo>
                    <a:pt x="347" y="751"/>
                  </a:lnTo>
                  <a:lnTo>
                    <a:pt x="355" y="747"/>
                  </a:lnTo>
                  <a:lnTo>
                    <a:pt x="368" y="734"/>
                  </a:lnTo>
                  <a:lnTo>
                    <a:pt x="368" y="730"/>
                  </a:lnTo>
                  <a:lnTo>
                    <a:pt x="368" y="718"/>
                  </a:lnTo>
                  <a:lnTo>
                    <a:pt x="364" y="710"/>
                  </a:lnTo>
                  <a:lnTo>
                    <a:pt x="319" y="682"/>
                  </a:lnTo>
                  <a:lnTo>
                    <a:pt x="291" y="658"/>
                  </a:lnTo>
                  <a:lnTo>
                    <a:pt x="279" y="654"/>
                  </a:lnTo>
                  <a:lnTo>
                    <a:pt x="267" y="650"/>
                  </a:lnTo>
                  <a:lnTo>
                    <a:pt x="218" y="646"/>
                  </a:lnTo>
                  <a:lnTo>
                    <a:pt x="174" y="634"/>
                  </a:lnTo>
                  <a:lnTo>
                    <a:pt x="150" y="630"/>
                  </a:lnTo>
                  <a:lnTo>
                    <a:pt x="126" y="621"/>
                  </a:lnTo>
                  <a:lnTo>
                    <a:pt x="121" y="617"/>
                  </a:lnTo>
                  <a:lnTo>
                    <a:pt x="109" y="617"/>
                  </a:lnTo>
                  <a:lnTo>
                    <a:pt x="97" y="613"/>
                  </a:lnTo>
                  <a:lnTo>
                    <a:pt x="25" y="613"/>
                  </a:lnTo>
                  <a:lnTo>
                    <a:pt x="9" y="613"/>
                  </a:lnTo>
                  <a:lnTo>
                    <a:pt x="9" y="605"/>
                  </a:lnTo>
                  <a:lnTo>
                    <a:pt x="0" y="589"/>
                  </a:lnTo>
                  <a:lnTo>
                    <a:pt x="13" y="569"/>
                  </a:lnTo>
                  <a:lnTo>
                    <a:pt x="17" y="549"/>
                  </a:lnTo>
                  <a:lnTo>
                    <a:pt x="37" y="533"/>
                  </a:lnTo>
                  <a:lnTo>
                    <a:pt x="49" y="517"/>
                  </a:lnTo>
                  <a:lnTo>
                    <a:pt x="101" y="517"/>
                  </a:lnTo>
                  <a:lnTo>
                    <a:pt x="154" y="517"/>
                  </a:lnTo>
                  <a:lnTo>
                    <a:pt x="158" y="525"/>
                  </a:lnTo>
                  <a:lnTo>
                    <a:pt x="162" y="529"/>
                  </a:lnTo>
                  <a:lnTo>
                    <a:pt x="247" y="549"/>
                  </a:lnTo>
                  <a:lnTo>
                    <a:pt x="267" y="549"/>
                  </a:lnTo>
                  <a:lnTo>
                    <a:pt x="303" y="553"/>
                  </a:lnTo>
                  <a:lnTo>
                    <a:pt x="343" y="553"/>
                  </a:lnTo>
                  <a:lnTo>
                    <a:pt x="384" y="569"/>
                  </a:lnTo>
                  <a:lnTo>
                    <a:pt x="428" y="577"/>
                  </a:lnTo>
                  <a:lnTo>
                    <a:pt x="432" y="577"/>
                  </a:lnTo>
                  <a:lnTo>
                    <a:pt x="436" y="581"/>
                  </a:lnTo>
                  <a:lnTo>
                    <a:pt x="444" y="585"/>
                  </a:lnTo>
                  <a:lnTo>
                    <a:pt x="452" y="585"/>
                  </a:lnTo>
                  <a:lnTo>
                    <a:pt x="529" y="589"/>
                  </a:lnTo>
                  <a:lnTo>
                    <a:pt x="553" y="597"/>
                  </a:lnTo>
                  <a:lnTo>
                    <a:pt x="557" y="601"/>
                  </a:lnTo>
                  <a:lnTo>
                    <a:pt x="577" y="601"/>
                  </a:lnTo>
                  <a:lnTo>
                    <a:pt x="593" y="605"/>
                  </a:lnTo>
                  <a:lnTo>
                    <a:pt x="614" y="609"/>
                  </a:lnTo>
                  <a:lnTo>
                    <a:pt x="634" y="613"/>
                  </a:lnTo>
                  <a:lnTo>
                    <a:pt x="634" y="617"/>
                  </a:lnTo>
                  <a:lnTo>
                    <a:pt x="634" y="626"/>
                  </a:lnTo>
                  <a:lnTo>
                    <a:pt x="642" y="626"/>
                  </a:lnTo>
                  <a:lnTo>
                    <a:pt x="654" y="626"/>
                  </a:lnTo>
                  <a:lnTo>
                    <a:pt x="666" y="630"/>
                  </a:lnTo>
                  <a:lnTo>
                    <a:pt x="682" y="634"/>
                  </a:lnTo>
                  <a:lnTo>
                    <a:pt x="731" y="642"/>
                  </a:lnTo>
                  <a:lnTo>
                    <a:pt x="775" y="642"/>
                  </a:lnTo>
                  <a:lnTo>
                    <a:pt x="787" y="646"/>
                  </a:lnTo>
                  <a:lnTo>
                    <a:pt x="836" y="650"/>
                  </a:lnTo>
                  <a:lnTo>
                    <a:pt x="880" y="650"/>
                  </a:lnTo>
                  <a:lnTo>
                    <a:pt x="892" y="650"/>
                  </a:lnTo>
                  <a:lnTo>
                    <a:pt x="912" y="646"/>
                  </a:lnTo>
                  <a:lnTo>
                    <a:pt x="916" y="642"/>
                  </a:lnTo>
                  <a:lnTo>
                    <a:pt x="932" y="634"/>
                  </a:lnTo>
                  <a:lnTo>
                    <a:pt x="953" y="634"/>
                  </a:lnTo>
                  <a:lnTo>
                    <a:pt x="977" y="634"/>
                  </a:lnTo>
                  <a:lnTo>
                    <a:pt x="997" y="617"/>
                  </a:lnTo>
                  <a:lnTo>
                    <a:pt x="1005" y="605"/>
                  </a:lnTo>
                  <a:lnTo>
                    <a:pt x="1013" y="605"/>
                  </a:lnTo>
                  <a:lnTo>
                    <a:pt x="1033" y="605"/>
                  </a:lnTo>
                  <a:lnTo>
                    <a:pt x="1053" y="605"/>
                  </a:lnTo>
                  <a:lnTo>
                    <a:pt x="1057" y="605"/>
                  </a:lnTo>
                  <a:lnTo>
                    <a:pt x="1069" y="609"/>
                  </a:lnTo>
                  <a:lnTo>
                    <a:pt x="1069" y="621"/>
                  </a:lnTo>
                  <a:lnTo>
                    <a:pt x="1069" y="642"/>
                  </a:lnTo>
                  <a:lnTo>
                    <a:pt x="1053" y="662"/>
                  </a:lnTo>
                  <a:lnTo>
                    <a:pt x="1041" y="682"/>
                  </a:lnTo>
                  <a:lnTo>
                    <a:pt x="1033" y="710"/>
                  </a:lnTo>
                  <a:lnTo>
                    <a:pt x="1025" y="730"/>
                  </a:lnTo>
                  <a:lnTo>
                    <a:pt x="1021" y="734"/>
                  </a:lnTo>
                  <a:lnTo>
                    <a:pt x="1013" y="734"/>
                  </a:lnTo>
                  <a:lnTo>
                    <a:pt x="1001" y="759"/>
                  </a:lnTo>
                  <a:lnTo>
                    <a:pt x="993" y="787"/>
                  </a:lnTo>
                  <a:lnTo>
                    <a:pt x="977" y="795"/>
                  </a:lnTo>
                  <a:lnTo>
                    <a:pt x="977" y="815"/>
                  </a:lnTo>
                  <a:lnTo>
                    <a:pt x="977" y="831"/>
                  </a:lnTo>
                  <a:lnTo>
                    <a:pt x="965" y="851"/>
                  </a:lnTo>
                  <a:lnTo>
                    <a:pt x="944" y="872"/>
                  </a:lnTo>
                  <a:lnTo>
                    <a:pt x="940" y="876"/>
                  </a:lnTo>
                  <a:lnTo>
                    <a:pt x="932" y="884"/>
                  </a:lnTo>
                  <a:lnTo>
                    <a:pt x="932" y="896"/>
                  </a:lnTo>
                  <a:lnTo>
                    <a:pt x="932" y="904"/>
                  </a:lnTo>
                  <a:lnTo>
                    <a:pt x="940" y="904"/>
                  </a:lnTo>
                  <a:lnTo>
                    <a:pt x="953" y="908"/>
                  </a:lnTo>
                  <a:lnTo>
                    <a:pt x="953" y="916"/>
                  </a:lnTo>
                  <a:lnTo>
                    <a:pt x="953" y="924"/>
                  </a:lnTo>
                  <a:lnTo>
                    <a:pt x="944" y="928"/>
                  </a:lnTo>
                  <a:lnTo>
                    <a:pt x="932" y="936"/>
                  </a:lnTo>
                  <a:lnTo>
                    <a:pt x="916" y="948"/>
                  </a:lnTo>
                  <a:lnTo>
                    <a:pt x="908" y="964"/>
                  </a:lnTo>
                  <a:lnTo>
                    <a:pt x="908" y="968"/>
                  </a:lnTo>
                  <a:lnTo>
                    <a:pt x="908" y="977"/>
                  </a:lnTo>
                  <a:lnTo>
                    <a:pt x="912" y="993"/>
                  </a:lnTo>
                  <a:lnTo>
                    <a:pt x="916" y="1005"/>
                  </a:lnTo>
                  <a:lnTo>
                    <a:pt x="924" y="1017"/>
                  </a:lnTo>
                  <a:lnTo>
                    <a:pt x="928" y="1033"/>
                  </a:lnTo>
                  <a:lnTo>
                    <a:pt x="932" y="1073"/>
                  </a:lnTo>
                  <a:lnTo>
                    <a:pt x="932" y="1114"/>
                  </a:lnTo>
                  <a:lnTo>
                    <a:pt x="936" y="1118"/>
                  </a:lnTo>
                  <a:lnTo>
                    <a:pt x="940" y="1122"/>
                  </a:lnTo>
                  <a:lnTo>
                    <a:pt x="944" y="1130"/>
                  </a:lnTo>
                  <a:lnTo>
                    <a:pt x="948" y="1142"/>
                  </a:lnTo>
                  <a:lnTo>
                    <a:pt x="948" y="1174"/>
                  </a:lnTo>
                  <a:lnTo>
                    <a:pt x="948" y="1206"/>
                  </a:lnTo>
                  <a:lnTo>
                    <a:pt x="948" y="1223"/>
                  </a:lnTo>
                  <a:lnTo>
                    <a:pt x="944" y="1239"/>
                  </a:lnTo>
                  <a:lnTo>
                    <a:pt x="953" y="1247"/>
                  </a:lnTo>
                  <a:lnTo>
                    <a:pt x="961" y="1259"/>
                  </a:lnTo>
                  <a:lnTo>
                    <a:pt x="965" y="1259"/>
                  </a:lnTo>
                  <a:lnTo>
                    <a:pt x="965" y="1271"/>
                  </a:lnTo>
                  <a:lnTo>
                    <a:pt x="977" y="1275"/>
                  </a:lnTo>
                  <a:lnTo>
                    <a:pt x="977" y="1279"/>
                  </a:lnTo>
                  <a:lnTo>
                    <a:pt x="993" y="1311"/>
                  </a:lnTo>
                  <a:lnTo>
                    <a:pt x="1001" y="1328"/>
                  </a:lnTo>
                  <a:lnTo>
                    <a:pt x="1001" y="1372"/>
                  </a:lnTo>
                  <a:lnTo>
                    <a:pt x="1001" y="1424"/>
                  </a:lnTo>
                  <a:lnTo>
                    <a:pt x="1013" y="1436"/>
                  </a:lnTo>
                  <a:lnTo>
                    <a:pt x="1033" y="1449"/>
                  </a:lnTo>
                  <a:lnTo>
                    <a:pt x="1033" y="1457"/>
                  </a:lnTo>
                  <a:lnTo>
                    <a:pt x="1041" y="1465"/>
                  </a:lnTo>
                  <a:lnTo>
                    <a:pt x="1049" y="1477"/>
                  </a:lnTo>
                  <a:lnTo>
                    <a:pt x="1057" y="1481"/>
                  </a:lnTo>
                  <a:lnTo>
                    <a:pt x="1061" y="1493"/>
                  </a:lnTo>
                  <a:lnTo>
                    <a:pt x="1061" y="1509"/>
                  </a:lnTo>
                  <a:lnTo>
                    <a:pt x="1069" y="1541"/>
                  </a:lnTo>
                  <a:lnTo>
                    <a:pt x="1069" y="1574"/>
                  </a:lnTo>
                  <a:lnTo>
                    <a:pt x="1078" y="1590"/>
                  </a:lnTo>
                  <a:lnTo>
                    <a:pt x="1082" y="1598"/>
                  </a:lnTo>
                  <a:lnTo>
                    <a:pt x="1086" y="1602"/>
                  </a:lnTo>
                  <a:lnTo>
                    <a:pt x="1094" y="1606"/>
                  </a:lnTo>
                  <a:lnTo>
                    <a:pt x="1094" y="1614"/>
                  </a:lnTo>
                  <a:lnTo>
                    <a:pt x="1094" y="1618"/>
                  </a:lnTo>
                  <a:lnTo>
                    <a:pt x="1098" y="1622"/>
                  </a:lnTo>
                  <a:lnTo>
                    <a:pt x="1106" y="1626"/>
                  </a:lnTo>
                  <a:lnTo>
                    <a:pt x="1110" y="1638"/>
                  </a:lnTo>
                  <a:lnTo>
                    <a:pt x="1110" y="1646"/>
                  </a:lnTo>
                  <a:lnTo>
                    <a:pt x="1114" y="1650"/>
                  </a:lnTo>
                  <a:lnTo>
                    <a:pt x="1122" y="1654"/>
                  </a:lnTo>
                  <a:lnTo>
                    <a:pt x="1122" y="1670"/>
                  </a:lnTo>
                  <a:lnTo>
                    <a:pt x="1126" y="1691"/>
                  </a:lnTo>
                  <a:lnTo>
                    <a:pt x="1126" y="1699"/>
                  </a:lnTo>
                  <a:lnTo>
                    <a:pt x="1130" y="1707"/>
                  </a:lnTo>
                  <a:lnTo>
                    <a:pt x="1138" y="1711"/>
                  </a:lnTo>
                  <a:lnTo>
                    <a:pt x="1146" y="1723"/>
                  </a:lnTo>
                  <a:lnTo>
                    <a:pt x="1162" y="1727"/>
                  </a:lnTo>
                  <a:lnTo>
                    <a:pt x="1195" y="1735"/>
                  </a:lnTo>
                  <a:lnTo>
                    <a:pt x="1195" y="1743"/>
                  </a:lnTo>
                  <a:lnTo>
                    <a:pt x="1199" y="1743"/>
                  </a:lnTo>
                  <a:lnTo>
                    <a:pt x="1207" y="1779"/>
                  </a:lnTo>
                  <a:lnTo>
                    <a:pt x="1207" y="1783"/>
                  </a:lnTo>
                  <a:lnTo>
                    <a:pt x="1235" y="1791"/>
                  </a:lnTo>
                  <a:lnTo>
                    <a:pt x="1255" y="1791"/>
                  </a:lnTo>
                  <a:lnTo>
                    <a:pt x="1259" y="1796"/>
                  </a:lnTo>
                  <a:lnTo>
                    <a:pt x="1263" y="1796"/>
                  </a:lnTo>
                  <a:lnTo>
                    <a:pt x="1263" y="1804"/>
                  </a:lnTo>
                  <a:lnTo>
                    <a:pt x="1263" y="1816"/>
                  </a:lnTo>
                  <a:lnTo>
                    <a:pt x="1259" y="1820"/>
                  </a:lnTo>
                  <a:lnTo>
                    <a:pt x="1255" y="1824"/>
                  </a:lnTo>
                  <a:lnTo>
                    <a:pt x="1255" y="1828"/>
                  </a:lnTo>
                  <a:lnTo>
                    <a:pt x="1259" y="1832"/>
                  </a:lnTo>
                  <a:lnTo>
                    <a:pt x="1263" y="1844"/>
                  </a:lnTo>
                  <a:lnTo>
                    <a:pt x="1299" y="1860"/>
                  </a:lnTo>
                  <a:lnTo>
                    <a:pt x="1308" y="1864"/>
                  </a:lnTo>
                  <a:lnTo>
                    <a:pt x="1324" y="1868"/>
                  </a:lnTo>
                  <a:lnTo>
                    <a:pt x="1340" y="1872"/>
                  </a:lnTo>
                  <a:lnTo>
                    <a:pt x="1344" y="1876"/>
                  </a:lnTo>
                  <a:lnTo>
                    <a:pt x="1352" y="1876"/>
                  </a:lnTo>
                  <a:lnTo>
                    <a:pt x="1356" y="1876"/>
                  </a:lnTo>
                  <a:lnTo>
                    <a:pt x="1360" y="1872"/>
                  </a:lnTo>
                  <a:lnTo>
                    <a:pt x="1368" y="1868"/>
                  </a:lnTo>
                  <a:lnTo>
                    <a:pt x="1400" y="1868"/>
                  </a:lnTo>
                  <a:lnTo>
                    <a:pt x="1437" y="1864"/>
                  </a:lnTo>
                  <a:lnTo>
                    <a:pt x="1445" y="1832"/>
                  </a:lnTo>
                  <a:lnTo>
                    <a:pt x="1453" y="1775"/>
                  </a:lnTo>
                  <a:lnTo>
                    <a:pt x="1457" y="1755"/>
                  </a:lnTo>
                  <a:lnTo>
                    <a:pt x="1457" y="1731"/>
                  </a:lnTo>
                  <a:lnTo>
                    <a:pt x="1441" y="1711"/>
                  </a:lnTo>
                  <a:lnTo>
                    <a:pt x="1437" y="1707"/>
                  </a:lnTo>
                  <a:lnTo>
                    <a:pt x="1429" y="1707"/>
                  </a:lnTo>
                  <a:lnTo>
                    <a:pt x="1416" y="1699"/>
                  </a:lnTo>
                  <a:lnTo>
                    <a:pt x="1404" y="1699"/>
                  </a:lnTo>
                  <a:lnTo>
                    <a:pt x="1392" y="1699"/>
                  </a:lnTo>
                  <a:lnTo>
                    <a:pt x="1392" y="1707"/>
                  </a:lnTo>
                  <a:lnTo>
                    <a:pt x="1388" y="1707"/>
                  </a:lnTo>
                  <a:lnTo>
                    <a:pt x="1364" y="1707"/>
                  </a:lnTo>
                  <a:lnTo>
                    <a:pt x="1340" y="1707"/>
                  </a:lnTo>
                  <a:lnTo>
                    <a:pt x="1328" y="1695"/>
                  </a:lnTo>
                  <a:lnTo>
                    <a:pt x="1312" y="1687"/>
                  </a:lnTo>
                  <a:lnTo>
                    <a:pt x="1312" y="1658"/>
                  </a:lnTo>
                  <a:lnTo>
                    <a:pt x="1312" y="1630"/>
                  </a:lnTo>
                  <a:lnTo>
                    <a:pt x="1320" y="1622"/>
                  </a:lnTo>
                  <a:lnTo>
                    <a:pt x="1324" y="1614"/>
                  </a:lnTo>
                  <a:lnTo>
                    <a:pt x="1324" y="1594"/>
                  </a:lnTo>
                  <a:lnTo>
                    <a:pt x="1328" y="1566"/>
                  </a:lnTo>
                  <a:lnTo>
                    <a:pt x="1324" y="1566"/>
                  </a:lnTo>
                  <a:lnTo>
                    <a:pt x="1312" y="1562"/>
                  </a:lnTo>
                  <a:lnTo>
                    <a:pt x="1308" y="1549"/>
                  </a:lnTo>
                  <a:lnTo>
                    <a:pt x="1303" y="1537"/>
                  </a:lnTo>
                  <a:lnTo>
                    <a:pt x="1303" y="1509"/>
                  </a:lnTo>
                  <a:lnTo>
                    <a:pt x="1303" y="1493"/>
                  </a:lnTo>
                  <a:lnTo>
                    <a:pt x="1308" y="1489"/>
                  </a:lnTo>
                  <a:lnTo>
                    <a:pt x="1312" y="1481"/>
                  </a:lnTo>
                  <a:lnTo>
                    <a:pt x="1312" y="1465"/>
                  </a:lnTo>
                  <a:lnTo>
                    <a:pt x="1312" y="1449"/>
                  </a:lnTo>
                  <a:lnTo>
                    <a:pt x="1308" y="1449"/>
                  </a:lnTo>
                  <a:lnTo>
                    <a:pt x="1303" y="1445"/>
                  </a:lnTo>
                  <a:lnTo>
                    <a:pt x="1291" y="1424"/>
                  </a:lnTo>
                  <a:lnTo>
                    <a:pt x="1283" y="1408"/>
                  </a:lnTo>
                  <a:lnTo>
                    <a:pt x="1279" y="1400"/>
                  </a:lnTo>
                  <a:lnTo>
                    <a:pt x="1275" y="1392"/>
                  </a:lnTo>
                  <a:lnTo>
                    <a:pt x="1275" y="1352"/>
                  </a:lnTo>
                  <a:lnTo>
                    <a:pt x="1279" y="1340"/>
                  </a:lnTo>
                  <a:lnTo>
                    <a:pt x="1287" y="1332"/>
                  </a:lnTo>
                  <a:lnTo>
                    <a:pt x="1303" y="1323"/>
                  </a:lnTo>
                  <a:lnTo>
                    <a:pt x="1312" y="1307"/>
                  </a:lnTo>
                  <a:lnTo>
                    <a:pt x="1328" y="1291"/>
                  </a:lnTo>
                  <a:lnTo>
                    <a:pt x="1344" y="1291"/>
                  </a:lnTo>
                  <a:lnTo>
                    <a:pt x="1364" y="1291"/>
                  </a:lnTo>
                  <a:lnTo>
                    <a:pt x="1364" y="1315"/>
                  </a:lnTo>
                  <a:lnTo>
                    <a:pt x="1364" y="1340"/>
                  </a:lnTo>
                  <a:lnTo>
                    <a:pt x="1360" y="1344"/>
                  </a:lnTo>
                  <a:lnTo>
                    <a:pt x="1360" y="1360"/>
                  </a:lnTo>
                  <a:lnTo>
                    <a:pt x="1360" y="1376"/>
                  </a:lnTo>
                  <a:lnTo>
                    <a:pt x="1364" y="1388"/>
                  </a:lnTo>
                  <a:lnTo>
                    <a:pt x="1364" y="1392"/>
                  </a:lnTo>
                  <a:lnTo>
                    <a:pt x="1376" y="1400"/>
                  </a:lnTo>
                  <a:lnTo>
                    <a:pt x="1384" y="1408"/>
                  </a:lnTo>
                  <a:lnTo>
                    <a:pt x="1388" y="1412"/>
                  </a:lnTo>
                  <a:lnTo>
                    <a:pt x="1392" y="1424"/>
                  </a:lnTo>
                  <a:lnTo>
                    <a:pt x="1392" y="1440"/>
                  </a:lnTo>
                  <a:lnTo>
                    <a:pt x="1396" y="1453"/>
                  </a:lnTo>
                  <a:lnTo>
                    <a:pt x="1400" y="1465"/>
                  </a:lnTo>
                  <a:lnTo>
                    <a:pt x="1412" y="1481"/>
                  </a:lnTo>
                  <a:lnTo>
                    <a:pt x="1416" y="1501"/>
                  </a:lnTo>
                  <a:lnTo>
                    <a:pt x="1429" y="1517"/>
                  </a:lnTo>
                  <a:lnTo>
                    <a:pt x="1433" y="1525"/>
                  </a:lnTo>
                  <a:lnTo>
                    <a:pt x="1441" y="1533"/>
                  </a:lnTo>
                  <a:lnTo>
                    <a:pt x="1445" y="1541"/>
                  </a:lnTo>
                  <a:lnTo>
                    <a:pt x="1449" y="1553"/>
                  </a:lnTo>
                  <a:lnTo>
                    <a:pt x="1465" y="1562"/>
                  </a:lnTo>
                  <a:lnTo>
                    <a:pt x="1473" y="1570"/>
                  </a:lnTo>
                  <a:lnTo>
                    <a:pt x="1477" y="1602"/>
                  </a:lnTo>
                  <a:lnTo>
                    <a:pt x="1481" y="1618"/>
                  </a:lnTo>
                  <a:lnTo>
                    <a:pt x="1493" y="1626"/>
                  </a:lnTo>
                  <a:lnTo>
                    <a:pt x="1501" y="1638"/>
                  </a:lnTo>
                  <a:lnTo>
                    <a:pt x="1509" y="1642"/>
                  </a:lnTo>
                  <a:lnTo>
                    <a:pt x="1525" y="1646"/>
                  </a:lnTo>
                  <a:lnTo>
                    <a:pt x="1578" y="1646"/>
                  </a:lnTo>
                  <a:lnTo>
                    <a:pt x="1630" y="1650"/>
                  </a:lnTo>
                  <a:lnTo>
                    <a:pt x="1634" y="1646"/>
                  </a:lnTo>
                  <a:lnTo>
                    <a:pt x="1658" y="1642"/>
                  </a:lnTo>
                  <a:lnTo>
                    <a:pt x="1679" y="1638"/>
                  </a:lnTo>
                  <a:lnTo>
                    <a:pt x="1703" y="1618"/>
                  </a:lnTo>
                  <a:lnTo>
                    <a:pt x="1731" y="1606"/>
                  </a:lnTo>
                  <a:lnTo>
                    <a:pt x="1743" y="1598"/>
                  </a:lnTo>
                  <a:lnTo>
                    <a:pt x="1743" y="1590"/>
                  </a:lnTo>
                  <a:lnTo>
                    <a:pt x="1767" y="1582"/>
                  </a:lnTo>
                  <a:lnTo>
                    <a:pt x="1780" y="1574"/>
                  </a:lnTo>
                  <a:lnTo>
                    <a:pt x="1828" y="1574"/>
                  </a:lnTo>
                  <a:lnTo>
                    <a:pt x="1872" y="1574"/>
                  </a:lnTo>
                  <a:lnTo>
                    <a:pt x="1884" y="1574"/>
                  </a:lnTo>
                  <a:lnTo>
                    <a:pt x="1917" y="1578"/>
                  </a:lnTo>
                  <a:lnTo>
                    <a:pt x="1933" y="1598"/>
                  </a:lnTo>
                  <a:lnTo>
                    <a:pt x="1949" y="1614"/>
                  </a:lnTo>
                  <a:lnTo>
                    <a:pt x="1953" y="1618"/>
                  </a:lnTo>
                  <a:lnTo>
                    <a:pt x="1957" y="1622"/>
                  </a:lnTo>
                  <a:lnTo>
                    <a:pt x="1969" y="1638"/>
                  </a:lnTo>
                  <a:lnTo>
                    <a:pt x="1973" y="1646"/>
                  </a:lnTo>
                  <a:lnTo>
                    <a:pt x="1981" y="1650"/>
                  </a:lnTo>
                  <a:lnTo>
                    <a:pt x="1985" y="1654"/>
                  </a:lnTo>
                  <a:lnTo>
                    <a:pt x="1989" y="1658"/>
                  </a:lnTo>
                  <a:lnTo>
                    <a:pt x="2001" y="1666"/>
                  </a:lnTo>
                  <a:lnTo>
                    <a:pt x="2009" y="1670"/>
                  </a:lnTo>
                  <a:lnTo>
                    <a:pt x="2026" y="1683"/>
                  </a:lnTo>
                  <a:lnTo>
                    <a:pt x="2078" y="1683"/>
                  </a:lnTo>
                  <a:lnTo>
                    <a:pt x="2126" y="1683"/>
                  </a:lnTo>
                  <a:lnTo>
                    <a:pt x="2147" y="1670"/>
                  </a:lnTo>
                  <a:lnTo>
                    <a:pt x="2171" y="1662"/>
                  </a:lnTo>
                  <a:lnTo>
                    <a:pt x="2175" y="1666"/>
                  </a:lnTo>
                  <a:lnTo>
                    <a:pt x="2183" y="1666"/>
                  </a:lnTo>
                  <a:lnTo>
                    <a:pt x="2191" y="1662"/>
                  </a:lnTo>
                  <a:lnTo>
                    <a:pt x="2183" y="1658"/>
                  </a:lnTo>
                  <a:lnTo>
                    <a:pt x="2183" y="1654"/>
                  </a:lnTo>
                  <a:lnTo>
                    <a:pt x="2191" y="1654"/>
                  </a:lnTo>
                  <a:lnTo>
                    <a:pt x="2199" y="1650"/>
                  </a:lnTo>
                  <a:lnTo>
                    <a:pt x="2207" y="1650"/>
                  </a:lnTo>
                  <a:lnTo>
                    <a:pt x="2219" y="1646"/>
                  </a:lnTo>
                  <a:lnTo>
                    <a:pt x="2227" y="1638"/>
                  </a:lnTo>
                  <a:lnTo>
                    <a:pt x="2235" y="1626"/>
                  </a:lnTo>
                  <a:lnTo>
                    <a:pt x="2243" y="1618"/>
                  </a:lnTo>
                  <a:lnTo>
                    <a:pt x="2256" y="1602"/>
                  </a:lnTo>
                  <a:lnTo>
                    <a:pt x="2260" y="1598"/>
                  </a:lnTo>
                  <a:lnTo>
                    <a:pt x="2260" y="1570"/>
                  </a:lnTo>
                  <a:lnTo>
                    <a:pt x="2268" y="1549"/>
                  </a:lnTo>
                  <a:lnTo>
                    <a:pt x="2272" y="1541"/>
                  </a:lnTo>
                  <a:lnTo>
                    <a:pt x="2276" y="1537"/>
                  </a:lnTo>
                  <a:lnTo>
                    <a:pt x="2280" y="1509"/>
                  </a:lnTo>
                  <a:lnTo>
                    <a:pt x="2280" y="1481"/>
                  </a:lnTo>
                  <a:lnTo>
                    <a:pt x="2284" y="1473"/>
                  </a:lnTo>
                  <a:lnTo>
                    <a:pt x="2288" y="1457"/>
                  </a:lnTo>
                  <a:lnTo>
                    <a:pt x="2356" y="1449"/>
                  </a:lnTo>
                  <a:lnTo>
                    <a:pt x="2385" y="1449"/>
                  </a:lnTo>
                  <a:lnTo>
                    <a:pt x="2421" y="1457"/>
                  </a:lnTo>
                  <a:lnTo>
                    <a:pt x="2453" y="1473"/>
                  </a:lnTo>
                  <a:lnTo>
                    <a:pt x="2481" y="1473"/>
                  </a:lnTo>
                  <a:lnTo>
                    <a:pt x="2506" y="1473"/>
                  </a:lnTo>
                  <a:lnTo>
                    <a:pt x="2510" y="1481"/>
                  </a:lnTo>
                  <a:lnTo>
                    <a:pt x="2514" y="1485"/>
                  </a:lnTo>
                  <a:lnTo>
                    <a:pt x="2562" y="1501"/>
                  </a:lnTo>
                  <a:lnTo>
                    <a:pt x="2590" y="1513"/>
                  </a:lnTo>
                  <a:lnTo>
                    <a:pt x="2607" y="1521"/>
                  </a:lnTo>
                  <a:lnTo>
                    <a:pt x="2619" y="1529"/>
                  </a:lnTo>
                  <a:lnTo>
                    <a:pt x="2643" y="1533"/>
                  </a:lnTo>
                  <a:lnTo>
                    <a:pt x="2651" y="1537"/>
                  </a:lnTo>
                  <a:lnTo>
                    <a:pt x="2667" y="1537"/>
                  </a:lnTo>
                  <a:lnTo>
                    <a:pt x="2683" y="1537"/>
                  </a:lnTo>
                  <a:lnTo>
                    <a:pt x="2711" y="1529"/>
                  </a:lnTo>
                  <a:lnTo>
                    <a:pt x="2808" y="1501"/>
                  </a:lnTo>
                  <a:lnTo>
                    <a:pt x="2812" y="1489"/>
                  </a:lnTo>
                  <a:lnTo>
                    <a:pt x="2824" y="1485"/>
                  </a:lnTo>
                  <a:lnTo>
                    <a:pt x="2840" y="1477"/>
                  </a:lnTo>
                  <a:lnTo>
                    <a:pt x="2869" y="1465"/>
                  </a:lnTo>
                  <a:lnTo>
                    <a:pt x="2897" y="1457"/>
                  </a:lnTo>
                  <a:lnTo>
                    <a:pt x="2925" y="1445"/>
                  </a:lnTo>
                  <a:lnTo>
                    <a:pt x="2937" y="1436"/>
                  </a:lnTo>
                  <a:lnTo>
                    <a:pt x="2970" y="1436"/>
                  </a:lnTo>
                  <a:lnTo>
                    <a:pt x="3006" y="1436"/>
                  </a:lnTo>
                  <a:lnTo>
                    <a:pt x="3022" y="1449"/>
                  </a:lnTo>
                  <a:lnTo>
                    <a:pt x="3046" y="1465"/>
                  </a:lnTo>
                  <a:lnTo>
                    <a:pt x="3054" y="1465"/>
                  </a:lnTo>
                  <a:lnTo>
                    <a:pt x="3070" y="1473"/>
                  </a:lnTo>
                  <a:lnTo>
                    <a:pt x="3087" y="1489"/>
                  </a:lnTo>
                  <a:lnTo>
                    <a:pt x="3111" y="1501"/>
                  </a:lnTo>
                  <a:lnTo>
                    <a:pt x="3163" y="1517"/>
                  </a:lnTo>
                  <a:lnTo>
                    <a:pt x="3183" y="1517"/>
                  </a:lnTo>
                  <a:lnTo>
                    <a:pt x="3195" y="1517"/>
                  </a:lnTo>
                  <a:lnTo>
                    <a:pt x="3195" y="1513"/>
                  </a:lnTo>
                  <a:lnTo>
                    <a:pt x="3208" y="1501"/>
                  </a:lnTo>
                  <a:lnTo>
                    <a:pt x="3212" y="1485"/>
                  </a:lnTo>
                  <a:lnTo>
                    <a:pt x="3236" y="1473"/>
                  </a:lnTo>
                  <a:lnTo>
                    <a:pt x="3252" y="1457"/>
                  </a:lnTo>
                  <a:lnTo>
                    <a:pt x="3264" y="1453"/>
                  </a:lnTo>
                  <a:lnTo>
                    <a:pt x="3276" y="1453"/>
                  </a:lnTo>
                  <a:lnTo>
                    <a:pt x="3280" y="1445"/>
                  </a:lnTo>
                  <a:lnTo>
                    <a:pt x="3288" y="1428"/>
                  </a:lnTo>
                  <a:lnTo>
                    <a:pt x="3296" y="1424"/>
                  </a:lnTo>
                  <a:lnTo>
                    <a:pt x="3308" y="1424"/>
                  </a:lnTo>
                  <a:lnTo>
                    <a:pt x="3312" y="1412"/>
                  </a:lnTo>
                  <a:lnTo>
                    <a:pt x="3312" y="1404"/>
                  </a:lnTo>
                  <a:lnTo>
                    <a:pt x="3317" y="1404"/>
                  </a:lnTo>
                  <a:lnTo>
                    <a:pt x="3317" y="1400"/>
                  </a:lnTo>
                  <a:lnTo>
                    <a:pt x="3329" y="1396"/>
                  </a:lnTo>
                  <a:lnTo>
                    <a:pt x="3341" y="1392"/>
                  </a:lnTo>
                  <a:lnTo>
                    <a:pt x="3349" y="1376"/>
                  </a:lnTo>
                  <a:lnTo>
                    <a:pt x="3365" y="1360"/>
                  </a:lnTo>
                  <a:lnTo>
                    <a:pt x="3373" y="1360"/>
                  </a:lnTo>
                  <a:lnTo>
                    <a:pt x="3381" y="1360"/>
                  </a:lnTo>
                  <a:lnTo>
                    <a:pt x="3401" y="1364"/>
                  </a:lnTo>
                  <a:lnTo>
                    <a:pt x="3425" y="1368"/>
                  </a:lnTo>
                  <a:lnTo>
                    <a:pt x="3425" y="1364"/>
                  </a:lnTo>
                  <a:lnTo>
                    <a:pt x="3429" y="1364"/>
                  </a:lnTo>
                  <a:lnTo>
                    <a:pt x="3458" y="1364"/>
                  </a:lnTo>
                  <a:lnTo>
                    <a:pt x="3486" y="1364"/>
                  </a:lnTo>
                  <a:lnTo>
                    <a:pt x="3498" y="1368"/>
                  </a:lnTo>
                  <a:lnTo>
                    <a:pt x="3502" y="1376"/>
                  </a:lnTo>
                  <a:lnTo>
                    <a:pt x="3522" y="1376"/>
                  </a:lnTo>
                  <a:lnTo>
                    <a:pt x="3546" y="1380"/>
                  </a:lnTo>
                  <a:lnTo>
                    <a:pt x="3567" y="1396"/>
                  </a:lnTo>
                  <a:lnTo>
                    <a:pt x="3587" y="1404"/>
                  </a:lnTo>
                  <a:lnTo>
                    <a:pt x="3595" y="1412"/>
                  </a:lnTo>
                  <a:lnTo>
                    <a:pt x="3603" y="1416"/>
                  </a:lnTo>
                  <a:lnTo>
                    <a:pt x="3623" y="1424"/>
                  </a:lnTo>
                  <a:lnTo>
                    <a:pt x="3676" y="1424"/>
                  </a:lnTo>
                  <a:lnTo>
                    <a:pt x="3684" y="1424"/>
                  </a:lnTo>
                  <a:lnTo>
                    <a:pt x="3688" y="1428"/>
                  </a:lnTo>
                  <a:lnTo>
                    <a:pt x="3700" y="1428"/>
                  </a:lnTo>
                  <a:lnTo>
                    <a:pt x="3712" y="1428"/>
                  </a:lnTo>
                  <a:lnTo>
                    <a:pt x="3728" y="1424"/>
                  </a:lnTo>
                  <a:lnTo>
                    <a:pt x="3732" y="1424"/>
                  </a:lnTo>
                  <a:lnTo>
                    <a:pt x="3756" y="1424"/>
                  </a:lnTo>
                  <a:lnTo>
                    <a:pt x="3772" y="1416"/>
                  </a:lnTo>
                  <a:lnTo>
                    <a:pt x="3789" y="1412"/>
                  </a:lnTo>
                  <a:lnTo>
                    <a:pt x="3797" y="1408"/>
                  </a:lnTo>
                  <a:lnTo>
                    <a:pt x="3809" y="1404"/>
                  </a:lnTo>
                  <a:lnTo>
                    <a:pt x="3813" y="1396"/>
                  </a:lnTo>
                  <a:lnTo>
                    <a:pt x="3821" y="1388"/>
                  </a:lnTo>
                  <a:lnTo>
                    <a:pt x="3829" y="1376"/>
                  </a:lnTo>
                  <a:lnTo>
                    <a:pt x="3833" y="1372"/>
                  </a:lnTo>
                  <a:lnTo>
                    <a:pt x="3849" y="1368"/>
                  </a:lnTo>
                  <a:lnTo>
                    <a:pt x="3857" y="1364"/>
                  </a:lnTo>
                  <a:lnTo>
                    <a:pt x="3869" y="1364"/>
                  </a:lnTo>
                  <a:lnTo>
                    <a:pt x="3885" y="1356"/>
                  </a:lnTo>
                  <a:lnTo>
                    <a:pt x="3893" y="1348"/>
                  </a:lnTo>
                  <a:lnTo>
                    <a:pt x="3922" y="1344"/>
                  </a:lnTo>
                  <a:lnTo>
                    <a:pt x="3950" y="1332"/>
                  </a:lnTo>
                  <a:lnTo>
                    <a:pt x="3958" y="1332"/>
                  </a:lnTo>
                  <a:lnTo>
                    <a:pt x="3966" y="1332"/>
                  </a:lnTo>
                  <a:lnTo>
                    <a:pt x="3986" y="1340"/>
                  </a:lnTo>
                  <a:lnTo>
                    <a:pt x="4010" y="1348"/>
                  </a:lnTo>
                  <a:lnTo>
                    <a:pt x="4022" y="1352"/>
                  </a:lnTo>
                  <a:lnTo>
                    <a:pt x="4039" y="1360"/>
                  </a:lnTo>
                  <a:lnTo>
                    <a:pt x="4055" y="1372"/>
                  </a:lnTo>
                  <a:lnTo>
                    <a:pt x="4071" y="1392"/>
                  </a:lnTo>
                  <a:lnTo>
                    <a:pt x="4079" y="1404"/>
                  </a:lnTo>
                  <a:lnTo>
                    <a:pt x="4083" y="1416"/>
                  </a:lnTo>
                  <a:lnTo>
                    <a:pt x="4091" y="1424"/>
                  </a:lnTo>
                  <a:lnTo>
                    <a:pt x="4103" y="1428"/>
                  </a:lnTo>
                  <a:lnTo>
                    <a:pt x="4127" y="1445"/>
                  </a:lnTo>
                  <a:lnTo>
                    <a:pt x="4152" y="1457"/>
                  </a:lnTo>
                  <a:lnTo>
                    <a:pt x="4192" y="1457"/>
                  </a:lnTo>
                  <a:lnTo>
                    <a:pt x="4232" y="1453"/>
                  </a:lnTo>
                  <a:lnTo>
                    <a:pt x="4261" y="1440"/>
                  </a:lnTo>
                  <a:lnTo>
                    <a:pt x="4273" y="1428"/>
                  </a:lnTo>
                  <a:lnTo>
                    <a:pt x="4293" y="1396"/>
                  </a:lnTo>
                  <a:lnTo>
                    <a:pt x="4309" y="1368"/>
                  </a:lnTo>
                  <a:lnTo>
                    <a:pt x="4309" y="1356"/>
                  </a:lnTo>
                  <a:lnTo>
                    <a:pt x="4321" y="1340"/>
                  </a:lnTo>
                  <a:lnTo>
                    <a:pt x="4325" y="1279"/>
                  </a:lnTo>
                  <a:lnTo>
                    <a:pt x="4325" y="1243"/>
                  </a:lnTo>
                  <a:lnTo>
                    <a:pt x="4329" y="1235"/>
                  </a:lnTo>
                  <a:lnTo>
                    <a:pt x="4329" y="1223"/>
                  </a:lnTo>
                  <a:lnTo>
                    <a:pt x="4337" y="1211"/>
                  </a:lnTo>
                  <a:lnTo>
                    <a:pt x="4353" y="1202"/>
                  </a:lnTo>
                  <a:lnTo>
                    <a:pt x="4357" y="1194"/>
                  </a:lnTo>
                  <a:lnTo>
                    <a:pt x="4357" y="1182"/>
                  </a:lnTo>
                  <a:lnTo>
                    <a:pt x="4357" y="1174"/>
                  </a:lnTo>
                  <a:lnTo>
                    <a:pt x="4357" y="1162"/>
                  </a:lnTo>
                  <a:lnTo>
                    <a:pt x="4361" y="1158"/>
                  </a:lnTo>
                  <a:lnTo>
                    <a:pt x="4373" y="1146"/>
                  </a:lnTo>
                  <a:lnTo>
                    <a:pt x="4386" y="1134"/>
                  </a:lnTo>
                  <a:lnTo>
                    <a:pt x="4398" y="1122"/>
                  </a:lnTo>
                  <a:lnTo>
                    <a:pt x="4418" y="1118"/>
                  </a:lnTo>
                  <a:lnTo>
                    <a:pt x="4442" y="1114"/>
                  </a:lnTo>
                  <a:lnTo>
                    <a:pt x="4446" y="1106"/>
                  </a:lnTo>
                  <a:lnTo>
                    <a:pt x="4446" y="1102"/>
                  </a:lnTo>
                  <a:lnTo>
                    <a:pt x="4470" y="1089"/>
                  </a:lnTo>
                  <a:lnTo>
                    <a:pt x="4486" y="1081"/>
                  </a:lnTo>
                  <a:lnTo>
                    <a:pt x="4490" y="1077"/>
                  </a:lnTo>
                  <a:lnTo>
                    <a:pt x="4499" y="1077"/>
                  </a:lnTo>
                  <a:lnTo>
                    <a:pt x="4507" y="1069"/>
                  </a:lnTo>
                  <a:lnTo>
                    <a:pt x="4519" y="1061"/>
                  </a:lnTo>
                  <a:lnTo>
                    <a:pt x="4531" y="1033"/>
                  </a:lnTo>
                  <a:lnTo>
                    <a:pt x="4571" y="977"/>
                  </a:lnTo>
                  <a:lnTo>
                    <a:pt x="4575" y="968"/>
                  </a:lnTo>
                  <a:lnTo>
                    <a:pt x="4579" y="960"/>
                  </a:lnTo>
                  <a:lnTo>
                    <a:pt x="4583" y="952"/>
                  </a:lnTo>
                  <a:lnTo>
                    <a:pt x="4591" y="944"/>
                  </a:lnTo>
                  <a:lnTo>
                    <a:pt x="4591" y="928"/>
                  </a:lnTo>
                  <a:lnTo>
                    <a:pt x="4595" y="912"/>
                  </a:lnTo>
                  <a:lnTo>
                    <a:pt x="4611" y="900"/>
                  </a:lnTo>
                  <a:lnTo>
                    <a:pt x="4636" y="880"/>
                  </a:lnTo>
                  <a:lnTo>
                    <a:pt x="4660" y="876"/>
                  </a:lnTo>
                  <a:lnTo>
                    <a:pt x="4692" y="872"/>
                  </a:lnTo>
                  <a:lnTo>
                    <a:pt x="4724" y="872"/>
                  </a:lnTo>
                  <a:lnTo>
                    <a:pt x="4761" y="872"/>
                  </a:lnTo>
                  <a:lnTo>
                    <a:pt x="4769" y="876"/>
                  </a:lnTo>
                  <a:lnTo>
                    <a:pt x="4777" y="876"/>
                  </a:lnTo>
                  <a:lnTo>
                    <a:pt x="4781" y="880"/>
                  </a:lnTo>
                  <a:lnTo>
                    <a:pt x="4781" y="884"/>
                  </a:lnTo>
                  <a:lnTo>
                    <a:pt x="4789" y="892"/>
                  </a:lnTo>
                  <a:lnTo>
                    <a:pt x="4801" y="892"/>
                  </a:lnTo>
                  <a:lnTo>
                    <a:pt x="4805" y="896"/>
                  </a:lnTo>
                  <a:lnTo>
                    <a:pt x="4809" y="900"/>
                  </a:lnTo>
                  <a:lnTo>
                    <a:pt x="4817" y="904"/>
                  </a:lnTo>
                  <a:lnTo>
                    <a:pt x="4829" y="904"/>
                  </a:lnTo>
                  <a:lnTo>
                    <a:pt x="4833" y="908"/>
                  </a:lnTo>
                  <a:lnTo>
                    <a:pt x="4837" y="912"/>
                  </a:lnTo>
                  <a:lnTo>
                    <a:pt x="4858" y="912"/>
                  </a:lnTo>
                  <a:lnTo>
                    <a:pt x="4878" y="916"/>
                  </a:lnTo>
                  <a:lnTo>
                    <a:pt x="4902" y="900"/>
                  </a:lnTo>
                  <a:lnTo>
                    <a:pt x="4926" y="884"/>
                  </a:lnTo>
                  <a:lnTo>
                    <a:pt x="4946" y="868"/>
                  </a:lnTo>
                  <a:lnTo>
                    <a:pt x="4971" y="851"/>
                  </a:lnTo>
                  <a:lnTo>
                    <a:pt x="4995" y="843"/>
                  </a:lnTo>
                  <a:lnTo>
                    <a:pt x="5011" y="831"/>
                  </a:lnTo>
                  <a:lnTo>
                    <a:pt x="5027" y="831"/>
                  </a:lnTo>
                  <a:lnTo>
                    <a:pt x="5035" y="831"/>
                  </a:lnTo>
                  <a:lnTo>
                    <a:pt x="5059" y="835"/>
                  </a:lnTo>
                  <a:lnTo>
                    <a:pt x="5079" y="843"/>
                  </a:lnTo>
                  <a:lnTo>
                    <a:pt x="5100" y="860"/>
                  </a:lnTo>
                  <a:lnTo>
                    <a:pt x="5120" y="876"/>
                  </a:lnTo>
                  <a:lnTo>
                    <a:pt x="5124" y="876"/>
                  </a:lnTo>
                  <a:lnTo>
                    <a:pt x="5132" y="880"/>
                  </a:lnTo>
                  <a:lnTo>
                    <a:pt x="5152" y="896"/>
                  </a:lnTo>
                  <a:lnTo>
                    <a:pt x="5176" y="912"/>
                  </a:lnTo>
                  <a:lnTo>
                    <a:pt x="5204" y="924"/>
                  </a:lnTo>
                  <a:lnTo>
                    <a:pt x="5217" y="928"/>
                  </a:lnTo>
                  <a:lnTo>
                    <a:pt x="5249" y="928"/>
                  </a:lnTo>
                  <a:lnTo>
                    <a:pt x="5309" y="920"/>
                  </a:lnTo>
                  <a:lnTo>
                    <a:pt x="5317" y="916"/>
                  </a:lnTo>
                  <a:lnTo>
                    <a:pt x="5321" y="912"/>
                  </a:lnTo>
                  <a:lnTo>
                    <a:pt x="5346" y="904"/>
                  </a:lnTo>
                  <a:lnTo>
                    <a:pt x="5398" y="884"/>
                  </a:lnTo>
                  <a:lnTo>
                    <a:pt x="5414" y="872"/>
                  </a:lnTo>
                  <a:lnTo>
                    <a:pt x="5430" y="864"/>
                  </a:lnTo>
                  <a:lnTo>
                    <a:pt x="5443" y="855"/>
                  </a:lnTo>
                  <a:lnTo>
                    <a:pt x="5447" y="847"/>
                  </a:lnTo>
                  <a:lnTo>
                    <a:pt x="5451" y="843"/>
                  </a:lnTo>
                  <a:lnTo>
                    <a:pt x="5451" y="827"/>
                  </a:lnTo>
                  <a:lnTo>
                    <a:pt x="5447" y="819"/>
                  </a:lnTo>
                  <a:lnTo>
                    <a:pt x="5443" y="811"/>
                  </a:lnTo>
                  <a:lnTo>
                    <a:pt x="5434" y="807"/>
                  </a:lnTo>
                  <a:lnTo>
                    <a:pt x="5430" y="795"/>
                  </a:lnTo>
                  <a:lnTo>
                    <a:pt x="5422" y="779"/>
                  </a:lnTo>
                  <a:lnTo>
                    <a:pt x="5414" y="751"/>
                  </a:lnTo>
                  <a:lnTo>
                    <a:pt x="5414" y="722"/>
                  </a:lnTo>
                  <a:lnTo>
                    <a:pt x="5414" y="702"/>
                  </a:lnTo>
                  <a:lnTo>
                    <a:pt x="5406" y="690"/>
                  </a:lnTo>
                  <a:lnTo>
                    <a:pt x="5406" y="674"/>
                  </a:lnTo>
                  <a:lnTo>
                    <a:pt x="5410" y="666"/>
                  </a:lnTo>
                  <a:lnTo>
                    <a:pt x="5414" y="650"/>
                  </a:lnTo>
                  <a:lnTo>
                    <a:pt x="5414" y="642"/>
                  </a:lnTo>
                  <a:lnTo>
                    <a:pt x="5414" y="630"/>
                  </a:lnTo>
                  <a:lnTo>
                    <a:pt x="5406" y="630"/>
                  </a:lnTo>
                  <a:lnTo>
                    <a:pt x="5398" y="626"/>
                  </a:lnTo>
                  <a:lnTo>
                    <a:pt x="5398" y="613"/>
                  </a:lnTo>
                  <a:lnTo>
                    <a:pt x="5398" y="601"/>
                  </a:lnTo>
                  <a:lnTo>
                    <a:pt x="5398" y="589"/>
                  </a:lnTo>
                  <a:lnTo>
                    <a:pt x="5394" y="581"/>
                  </a:lnTo>
                  <a:lnTo>
                    <a:pt x="5394" y="549"/>
                  </a:lnTo>
                  <a:lnTo>
                    <a:pt x="5394" y="513"/>
                  </a:lnTo>
                  <a:lnTo>
                    <a:pt x="5398" y="500"/>
                  </a:lnTo>
                  <a:lnTo>
                    <a:pt x="5406" y="476"/>
                  </a:lnTo>
                  <a:lnTo>
                    <a:pt x="5410" y="468"/>
                  </a:lnTo>
                  <a:lnTo>
                    <a:pt x="5418" y="460"/>
                  </a:lnTo>
                  <a:lnTo>
                    <a:pt x="5430" y="452"/>
                  </a:lnTo>
                  <a:lnTo>
                    <a:pt x="5447" y="448"/>
                  </a:lnTo>
                  <a:lnTo>
                    <a:pt x="5463" y="428"/>
                  </a:lnTo>
                  <a:lnTo>
                    <a:pt x="5475" y="416"/>
                  </a:lnTo>
                  <a:lnTo>
                    <a:pt x="5487" y="412"/>
                  </a:lnTo>
                  <a:lnTo>
                    <a:pt x="5507" y="408"/>
                  </a:lnTo>
                  <a:lnTo>
                    <a:pt x="5547" y="404"/>
                  </a:lnTo>
                  <a:lnTo>
                    <a:pt x="5588" y="400"/>
                  </a:lnTo>
                  <a:lnTo>
                    <a:pt x="5616" y="400"/>
                  </a:lnTo>
                  <a:lnTo>
                    <a:pt x="5644" y="400"/>
                  </a:lnTo>
                  <a:lnTo>
                    <a:pt x="5729" y="383"/>
                  </a:lnTo>
                  <a:lnTo>
                    <a:pt x="5753" y="379"/>
                  </a:lnTo>
                  <a:lnTo>
                    <a:pt x="5757" y="375"/>
                  </a:lnTo>
                  <a:lnTo>
                    <a:pt x="5777" y="375"/>
                  </a:lnTo>
                  <a:lnTo>
                    <a:pt x="5789" y="371"/>
                  </a:lnTo>
                  <a:lnTo>
                    <a:pt x="5798" y="367"/>
                  </a:lnTo>
                  <a:lnTo>
                    <a:pt x="5806" y="363"/>
                  </a:lnTo>
                  <a:lnTo>
                    <a:pt x="5818" y="363"/>
                  </a:lnTo>
                  <a:lnTo>
                    <a:pt x="5818" y="359"/>
                  </a:lnTo>
                  <a:lnTo>
                    <a:pt x="5822" y="355"/>
                  </a:lnTo>
                  <a:lnTo>
                    <a:pt x="5834" y="311"/>
                  </a:lnTo>
                  <a:lnTo>
                    <a:pt x="5838" y="283"/>
                  </a:lnTo>
                  <a:lnTo>
                    <a:pt x="5850" y="283"/>
                  </a:lnTo>
                  <a:lnTo>
                    <a:pt x="5862" y="279"/>
                  </a:lnTo>
                  <a:lnTo>
                    <a:pt x="5870" y="270"/>
                  </a:lnTo>
                  <a:lnTo>
                    <a:pt x="5882" y="258"/>
                  </a:lnTo>
                  <a:lnTo>
                    <a:pt x="5886" y="250"/>
                  </a:lnTo>
                  <a:lnTo>
                    <a:pt x="5894" y="246"/>
                  </a:lnTo>
                  <a:lnTo>
                    <a:pt x="5898" y="218"/>
                  </a:lnTo>
                  <a:lnTo>
                    <a:pt x="5902" y="194"/>
                  </a:lnTo>
                  <a:lnTo>
                    <a:pt x="5927" y="178"/>
                  </a:lnTo>
                  <a:lnTo>
                    <a:pt x="5963" y="153"/>
                  </a:lnTo>
                  <a:lnTo>
                    <a:pt x="5967" y="158"/>
                  </a:lnTo>
                  <a:lnTo>
                    <a:pt x="5975" y="162"/>
                  </a:lnTo>
                  <a:lnTo>
                    <a:pt x="5979" y="158"/>
                  </a:lnTo>
                  <a:lnTo>
                    <a:pt x="5983" y="158"/>
                  </a:lnTo>
                  <a:lnTo>
                    <a:pt x="5983" y="153"/>
                  </a:lnTo>
                  <a:lnTo>
                    <a:pt x="5983" y="145"/>
                  </a:lnTo>
                  <a:lnTo>
                    <a:pt x="5983" y="149"/>
                  </a:lnTo>
                  <a:lnTo>
                    <a:pt x="5987" y="149"/>
                  </a:lnTo>
                  <a:lnTo>
                    <a:pt x="5991" y="145"/>
                  </a:lnTo>
                  <a:lnTo>
                    <a:pt x="5999" y="137"/>
                  </a:lnTo>
                  <a:lnTo>
                    <a:pt x="6003" y="129"/>
                  </a:lnTo>
                  <a:lnTo>
                    <a:pt x="6007" y="129"/>
                  </a:lnTo>
                  <a:lnTo>
                    <a:pt x="6011" y="125"/>
                  </a:lnTo>
                  <a:lnTo>
                    <a:pt x="6015" y="121"/>
                  </a:lnTo>
                  <a:lnTo>
                    <a:pt x="6023" y="117"/>
                  </a:lnTo>
                  <a:lnTo>
                    <a:pt x="6040" y="105"/>
                  </a:lnTo>
                  <a:lnTo>
                    <a:pt x="6060" y="89"/>
                  </a:lnTo>
                  <a:lnTo>
                    <a:pt x="6076" y="89"/>
                  </a:lnTo>
                  <a:lnTo>
                    <a:pt x="6096" y="85"/>
                  </a:lnTo>
                  <a:lnTo>
                    <a:pt x="6108" y="81"/>
                  </a:lnTo>
                  <a:lnTo>
                    <a:pt x="6124" y="73"/>
                  </a:lnTo>
                  <a:lnTo>
                    <a:pt x="6148" y="61"/>
                  </a:lnTo>
                  <a:lnTo>
                    <a:pt x="6169" y="45"/>
                  </a:lnTo>
                  <a:lnTo>
                    <a:pt x="6177" y="41"/>
                  </a:lnTo>
                  <a:lnTo>
                    <a:pt x="6185" y="36"/>
                  </a:lnTo>
                  <a:lnTo>
                    <a:pt x="6185" y="28"/>
                  </a:lnTo>
                  <a:lnTo>
                    <a:pt x="6189" y="28"/>
                  </a:lnTo>
                  <a:lnTo>
                    <a:pt x="6213" y="12"/>
                  </a:lnTo>
                  <a:lnTo>
                    <a:pt x="6245" y="0"/>
                  </a:lnTo>
                  <a:lnTo>
                    <a:pt x="6261" y="0"/>
                  </a:lnTo>
                  <a:lnTo>
                    <a:pt x="6265" y="0"/>
                  </a:lnTo>
                  <a:lnTo>
                    <a:pt x="6265" y="8"/>
                  </a:lnTo>
                  <a:lnTo>
                    <a:pt x="6265" y="16"/>
                  </a:lnTo>
                  <a:lnTo>
                    <a:pt x="6261" y="28"/>
                  </a:lnTo>
                  <a:lnTo>
                    <a:pt x="6257" y="41"/>
                  </a:lnTo>
                  <a:lnTo>
                    <a:pt x="6245" y="53"/>
                  </a:lnTo>
                  <a:lnTo>
                    <a:pt x="6221" y="65"/>
                  </a:lnTo>
                  <a:lnTo>
                    <a:pt x="6209" y="73"/>
                  </a:lnTo>
                  <a:lnTo>
                    <a:pt x="6189" y="81"/>
                  </a:lnTo>
                  <a:lnTo>
                    <a:pt x="6169" y="101"/>
                  </a:lnTo>
                  <a:lnTo>
                    <a:pt x="6157" y="109"/>
                  </a:lnTo>
                  <a:lnTo>
                    <a:pt x="6148" y="113"/>
                  </a:lnTo>
                  <a:lnTo>
                    <a:pt x="6140" y="117"/>
                  </a:lnTo>
                  <a:lnTo>
                    <a:pt x="6132" y="121"/>
                  </a:lnTo>
                  <a:lnTo>
                    <a:pt x="6124" y="121"/>
                  </a:lnTo>
                  <a:lnTo>
                    <a:pt x="6116" y="125"/>
                  </a:lnTo>
                  <a:lnTo>
                    <a:pt x="6104" y="137"/>
                  </a:lnTo>
                  <a:lnTo>
                    <a:pt x="6088" y="153"/>
                  </a:lnTo>
                  <a:lnTo>
                    <a:pt x="6076" y="158"/>
                  </a:lnTo>
                  <a:lnTo>
                    <a:pt x="6068" y="158"/>
                  </a:lnTo>
                  <a:lnTo>
                    <a:pt x="6060" y="166"/>
                  </a:lnTo>
                  <a:lnTo>
                    <a:pt x="6052" y="174"/>
                  </a:lnTo>
                  <a:lnTo>
                    <a:pt x="6052" y="198"/>
                  </a:lnTo>
                  <a:lnTo>
                    <a:pt x="6044" y="218"/>
                  </a:lnTo>
                  <a:lnTo>
                    <a:pt x="6056" y="218"/>
                  </a:lnTo>
                  <a:lnTo>
                    <a:pt x="6060" y="222"/>
                  </a:lnTo>
                  <a:lnTo>
                    <a:pt x="6080" y="234"/>
                  </a:lnTo>
                  <a:lnTo>
                    <a:pt x="6108" y="234"/>
                  </a:lnTo>
                  <a:lnTo>
                    <a:pt x="6120" y="250"/>
                  </a:lnTo>
                  <a:lnTo>
                    <a:pt x="6128" y="258"/>
                  </a:lnTo>
                  <a:lnTo>
                    <a:pt x="6140" y="262"/>
                  </a:lnTo>
                  <a:lnTo>
                    <a:pt x="6153" y="270"/>
                  </a:lnTo>
                  <a:lnTo>
                    <a:pt x="6185" y="270"/>
                  </a:lnTo>
                  <a:lnTo>
                    <a:pt x="6221" y="270"/>
                  </a:lnTo>
                  <a:lnTo>
                    <a:pt x="6257" y="270"/>
                  </a:lnTo>
                  <a:lnTo>
                    <a:pt x="6298" y="270"/>
                  </a:lnTo>
                  <a:lnTo>
                    <a:pt x="6298" y="279"/>
                  </a:lnTo>
                  <a:lnTo>
                    <a:pt x="6302" y="283"/>
                  </a:lnTo>
                  <a:lnTo>
                    <a:pt x="6302" y="299"/>
                  </a:lnTo>
                  <a:lnTo>
                    <a:pt x="6310" y="311"/>
                  </a:lnTo>
                  <a:lnTo>
                    <a:pt x="6318" y="319"/>
                  </a:lnTo>
                  <a:lnTo>
                    <a:pt x="6334" y="319"/>
                  </a:lnTo>
                  <a:lnTo>
                    <a:pt x="6334" y="323"/>
                  </a:lnTo>
                  <a:lnTo>
                    <a:pt x="6338" y="327"/>
                  </a:lnTo>
                  <a:lnTo>
                    <a:pt x="6346" y="331"/>
                  </a:lnTo>
                  <a:lnTo>
                    <a:pt x="6350" y="331"/>
                  </a:lnTo>
                  <a:lnTo>
                    <a:pt x="6362" y="343"/>
                  </a:lnTo>
                  <a:lnTo>
                    <a:pt x="6366" y="347"/>
                  </a:lnTo>
                  <a:lnTo>
                    <a:pt x="6399" y="359"/>
                  </a:lnTo>
                  <a:lnTo>
                    <a:pt x="6427" y="363"/>
                  </a:lnTo>
                  <a:lnTo>
                    <a:pt x="6443" y="371"/>
                  </a:lnTo>
                  <a:lnTo>
                    <a:pt x="6447" y="375"/>
                  </a:lnTo>
                  <a:lnTo>
                    <a:pt x="6475" y="392"/>
                  </a:lnTo>
                  <a:lnTo>
                    <a:pt x="6491" y="404"/>
                  </a:lnTo>
                  <a:lnTo>
                    <a:pt x="6495" y="408"/>
                  </a:lnTo>
                  <a:lnTo>
                    <a:pt x="6503" y="412"/>
                  </a:lnTo>
                  <a:lnTo>
                    <a:pt x="6528" y="416"/>
                  </a:lnTo>
                  <a:lnTo>
                    <a:pt x="6548" y="424"/>
                  </a:lnTo>
                  <a:lnTo>
                    <a:pt x="6556" y="424"/>
                  </a:lnTo>
                  <a:lnTo>
                    <a:pt x="6556" y="428"/>
                  </a:lnTo>
                  <a:lnTo>
                    <a:pt x="6580" y="432"/>
                  </a:lnTo>
                  <a:lnTo>
                    <a:pt x="6608" y="432"/>
                  </a:lnTo>
                  <a:lnTo>
                    <a:pt x="6625" y="436"/>
                  </a:lnTo>
                  <a:lnTo>
                    <a:pt x="6633" y="444"/>
                  </a:lnTo>
                  <a:lnTo>
                    <a:pt x="6653" y="444"/>
                  </a:lnTo>
                  <a:lnTo>
                    <a:pt x="6673" y="436"/>
                  </a:lnTo>
                  <a:lnTo>
                    <a:pt x="6677" y="436"/>
                  </a:lnTo>
                  <a:lnTo>
                    <a:pt x="6677" y="432"/>
                  </a:lnTo>
                  <a:lnTo>
                    <a:pt x="6689" y="428"/>
                  </a:lnTo>
                  <a:lnTo>
                    <a:pt x="6701" y="428"/>
                  </a:lnTo>
                  <a:lnTo>
                    <a:pt x="6709" y="424"/>
                  </a:lnTo>
                  <a:lnTo>
                    <a:pt x="6713" y="416"/>
                  </a:lnTo>
                  <a:lnTo>
                    <a:pt x="6754" y="408"/>
                  </a:lnTo>
                  <a:lnTo>
                    <a:pt x="6790" y="400"/>
                  </a:lnTo>
                  <a:lnTo>
                    <a:pt x="6806" y="396"/>
                  </a:lnTo>
                  <a:lnTo>
                    <a:pt x="6830" y="396"/>
                  </a:lnTo>
                  <a:lnTo>
                    <a:pt x="6846" y="392"/>
                  </a:lnTo>
                  <a:lnTo>
                    <a:pt x="6858" y="383"/>
                  </a:lnTo>
                  <a:lnTo>
                    <a:pt x="6879" y="383"/>
                  </a:lnTo>
                  <a:lnTo>
                    <a:pt x="6895" y="379"/>
                  </a:lnTo>
                  <a:lnTo>
                    <a:pt x="6903" y="375"/>
                  </a:lnTo>
                  <a:lnTo>
                    <a:pt x="6927" y="367"/>
                  </a:lnTo>
                  <a:lnTo>
                    <a:pt x="6935" y="363"/>
                  </a:lnTo>
                  <a:lnTo>
                    <a:pt x="6947" y="363"/>
                  </a:lnTo>
                  <a:lnTo>
                    <a:pt x="6947" y="359"/>
                  </a:lnTo>
                  <a:lnTo>
                    <a:pt x="6947" y="355"/>
                  </a:lnTo>
                  <a:lnTo>
                    <a:pt x="6996" y="335"/>
                  </a:lnTo>
                  <a:lnTo>
                    <a:pt x="7036" y="319"/>
                  </a:lnTo>
                  <a:lnTo>
                    <a:pt x="7068" y="307"/>
                  </a:lnTo>
                  <a:lnTo>
                    <a:pt x="7096" y="299"/>
                  </a:lnTo>
                  <a:lnTo>
                    <a:pt x="7105" y="295"/>
                  </a:lnTo>
                  <a:lnTo>
                    <a:pt x="7113" y="291"/>
                  </a:lnTo>
                  <a:lnTo>
                    <a:pt x="7141" y="291"/>
                  </a:lnTo>
                  <a:lnTo>
                    <a:pt x="7173" y="287"/>
                  </a:lnTo>
                  <a:lnTo>
                    <a:pt x="7189" y="287"/>
                  </a:lnTo>
                  <a:lnTo>
                    <a:pt x="7213" y="287"/>
                  </a:lnTo>
                  <a:lnTo>
                    <a:pt x="7254" y="299"/>
                  </a:lnTo>
                  <a:lnTo>
                    <a:pt x="7266" y="307"/>
                  </a:lnTo>
                  <a:lnTo>
                    <a:pt x="7270" y="311"/>
                  </a:lnTo>
                  <a:lnTo>
                    <a:pt x="7278" y="327"/>
                  </a:lnTo>
                  <a:lnTo>
                    <a:pt x="7294" y="331"/>
                  </a:lnTo>
                  <a:lnTo>
                    <a:pt x="7306" y="343"/>
                  </a:lnTo>
                  <a:lnTo>
                    <a:pt x="7351" y="383"/>
                  </a:lnTo>
                  <a:lnTo>
                    <a:pt x="7371" y="412"/>
                  </a:lnTo>
                  <a:lnTo>
                    <a:pt x="7379" y="412"/>
                  </a:lnTo>
                  <a:lnTo>
                    <a:pt x="7383" y="412"/>
                  </a:lnTo>
                  <a:lnTo>
                    <a:pt x="7387" y="404"/>
                  </a:lnTo>
                  <a:lnTo>
                    <a:pt x="7395" y="392"/>
                  </a:lnTo>
                  <a:lnTo>
                    <a:pt x="7399" y="383"/>
                  </a:lnTo>
                  <a:lnTo>
                    <a:pt x="7403" y="379"/>
                  </a:lnTo>
                  <a:lnTo>
                    <a:pt x="7403" y="371"/>
                  </a:lnTo>
                  <a:lnTo>
                    <a:pt x="7403" y="363"/>
                  </a:lnTo>
                  <a:lnTo>
                    <a:pt x="7411" y="359"/>
                  </a:lnTo>
                  <a:lnTo>
                    <a:pt x="7423" y="347"/>
                  </a:lnTo>
                  <a:lnTo>
                    <a:pt x="7435" y="347"/>
                  </a:lnTo>
                  <a:lnTo>
                    <a:pt x="7447" y="347"/>
                  </a:lnTo>
                  <a:lnTo>
                    <a:pt x="7452" y="355"/>
                  </a:lnTo>
                  <a:lnTo>
                    <a:pt x="7464" y="359"/>
                  </a:lnTo>
                  <a:lnTo>
                    <a:pt x="7468" y="367"/>
                  </a:lnTo>
                  <a:lnTo>
                    <a:pt x="7476" y="375"/>
                  </a:lnTo>
                  <a:lnTo>
                    <a:pt x="7476" y="379"/>
                  </a:lnTo>
                  <a:lnTo>
                    <a:pt x="7484" y="392"/>
                  </a:lnTo>
                  <a:lnTo>
                    <a:pt x="7496" y="392"/>
                  </a:lnTo>
                  <a:lnTo>
                    <a:pt x="7512" y="392"/>
                  </a:lnTo>
                  <a:lnTo>
                    <a:pt x="7516" y="392"/>
                  </a:lnTo>
                  <a:lnTo>
                    <a:pt x="7516" y="396"/>
                  </a:lnTo>
                  <a:lnTo>
                    <a:pt x="7532" y="400"/>
                  </a:lnTo>
                  <a:lnTo>
                    <a:pt x="7552" y="404"/>
                  </a:lnTo>
                  <a:lnTo>
                    <a:pt x="7589" y="424"/>
                  </a:lnTo>
                  <a:lnTo>
                    <a:pt x="7597" y="432"/>
                  </a:lnTo>
                  <a:lnTo>
                    <a:pt x="7605" y="432"/>
                  </a:lnTo>
                  <a:lnTo>
                    <a:pt x="7617" y="436"/>
                  </a:lnTo>
                  <a:lnTo>
                    <a:pt x="7613" y="456"/>
                  </a:lnTo>
                  <a:lnTo>
                    <a:pt x="7613" y="464"/>
                  </a:lnTo>
                  <a:lnTo>
                    <a:pt x="7613" y="476"/>
                  </a:lnTo>
                  <a:lnTo>
                    <a:pt x="7613" y="492"/>
                  </a:lnTo>
                  <a:lnTo>
                    <a:pt x="7617" y="513"/>
                  </a:lnTo>
                  <a:lnTo>
                    <a:pt x="7617" y="533"/>
                  </a:lnTo>
                  <a:lnTo>
                    <a:pt x="7609" y="537"/>
                  </a:lnTo>
                  <a:lnTo>
                    <a:pt x="7597" y="549"/>
                  </a:lnTo>
                  <a:lnTo>
                    <a:pt x="7593" y="549"/>
                  </a:lnTo>
                  <a:lnTo>
                    <a:pt x="7581" y="549"/>
                  </a:lnTo>
                  <a:lnTo>
                    <a:pt x="7581" y="541"/>
                  </a:lnTo>
                  <a:lnTo>
                    <a:pt x="7577" y="541"/>
                  </a:lnTo>
                  <a:lnTo>
                    <a:pt x="7552" y="541"/>
                  </a:lnTo>
                  <a:lnTo>
                    <a:pt x="7496" y="549"/>
                  </a:lnTo>
                  <a:lnTo>
                    <a:pt x="7460" y="533"/>
                  </a:lnTo>
                  <a:lnTo>
                    <a:pt x="7447" y="529"/>
                  </a:lnTo>
                  <a:lnTo>
                    <a:pt x="7447" y="525"/>
                  </a:lnTo>
                  <a:lnTo>
                    <a:pt x="7439" y="513"/>
                  </a:lnTo>
                  <a:lnTo>
                    <a:pt x="7431" y="525"/>
                  </a:lnTo>
                  <a:lnTo>
                    <a:pt x="7423" y="533"/>
                  </a:lnTo>
                  <a:lnTo>
                    <a:pt x="7387" y="533"/>
                  </a:lnTo>
                  <a:lnTo>
                    <a:pt x="7367" y="529"/>
                  </a:lnTo>
                  <a:lnTo>
                    <a:pt x="7355" y="517"/>
                  </a:lnTo>
                  <a:lnTo>
                    <a:pt x="7330" y="504"/>
                  </a:lnTo>
                  <a:lnTo>
                    <a:pt x="7326" y="496"/>
                  </a:lnTo>
                  <a:lnTo>
                    <a:pt x="7318" y="480"/>
                  </a:lnTo>
                  <a:lnTo>
                    <a:pt x="7314" y="476"/>
                  </a:lnTo>
                  <a:lnTo>
                    <a:pt x="7302" y="468"/>
                  </a:lnTo>
                  <a:lnTo>
                    <a:pt x="7290" y="464"/>
                  </a:lnTo>
                  <a:lnTo>
                    <a:pt x="7270" y="464"/>
                  </a:lnTo>
                  <a:lnTo>
                    <a:pt x="7254" y="464"/>
                  </a:lnTo>
                  <a:lnTo>
                    <a:pt x="7238" y="464"/>
                  </a:lnTo>
                  <a:lnTo>
                    <a:pt x="7218" y="460"/>
                  </a:lnTo>
                  <a:lnTo>
                    <a:pt x="7201" y="456"/>
                  </a:lnTo>
                  <a:lnTo>
                    <a:pt x="7189" y="448"/>
                  </a:lnTo>
                  <a:lnTo>
                    <a:pt x="7185" y="436"/>
                  </a:lnTo>
                  <a:lnTo>
                    <a:pt x="7177" y="420"/>
                  </a:lnTo>
                  <a:lnTo>
                    <a:pt x="7165" y="400"/>
                  </a:lnTo>
                  <a:lnTo>
                    <a:pt x="7161" y="400"/>
                  </a:lnTo>
                  <a:lnTo>
                    <a:pt x="7157" y="396"/>
                  </a:lnTo>
                  <a:lnTo>
                    <a:pt x="7149" y="404"/>
                  </a:lnTo>
                  <a:lnTo>
                    <a:pt x="7133" y="412"/>
                  </a:lnTo>
                  <a:lnTo>
                    <a:pt x="7133" y="420"/>
                  </a:lnTo>
                  <a:lnTo>
                    <a:pt x="7129" y="428"/>
                  </a:lnTo>
                  <a:lnTo>
                    <a:pt x="7121" y="436"/>
                  </a:lnTo>
                  <a:lnTo>
                    <a:pt x="7109" y="444"/>
                  </a:lnTo>
                  <a:lnTo>
                    <a:pt x="7084" y="444"/>
                  </a:lnTo>
                  <a:lnTo>
                    <a:pt x="7064" y="444"/>
                  </a:lnTo>
                  <a:lnTo>
                    <a:pt x="7060" y="444"/>
                  </a:lnTo>
                  <a:lnTo>
                    <a:pt x="7052" y="436"/>
                  </a:lnTo>
                  <a:lnTo>
                    <a:pt x="7048" y="432"/>
                  </a:lnTo>
                  <a:lnTo>
                    <a:pt x="7036" y="428"/>
                  </a:lnTo>
                  <a:lnTo>
                    <a:pt x="7028" y="428"/>
                  </a:lnTo>
                  <a:lnTo>
                    <a:pt x="7016" y="428"/>
                  </a:lnTo>
                  <a:lnTo>
                    <a:pt x="6984" y="452"/>
                  </a:lnTo>
                  <a:lnTo>
                    <a:pt x="6935" y="480"/>
                  </a:lnTo>
                  <a:lnTo>
                    <a:pt x="6911" y="488"/>
                  </a:lnTo>
                  <a:lnTo>
                    <a:pt x="6907" y="488"/>
                  </a:lnTo>
                  <a:lnTo>
                    <a:pt x="6879" y="488"/>
                  </a:lnTo>
                  <a:lnTo>
                    <a:pt x="6850" y="488"/>
                  </a:lnTo>
                  <a:lnTo>
                    <a:pt x="6850" y="492"/>
                  </a:lnTo>
                  <a:lnTo>
                    <a:pt x="6834" y="496"/>
                  </a:lnTo>
                  <a:lnTo>
                    <a:pt x="6822" y="500"/>
                  </a:lnTo>
                  <a:lnTo>
                    <a:pt x="6798" y="500"/>
                  </a:lnTo>
                  <a:lnTo>
                    <a:pt x="6774" y="500"/>
                  </a:lnTo>
                  <a:lnTo>
                    <a:pt x="6770" y="504"/>
                  </a:lnTo>
                  <a:lnTo>
                    <a:pt x="6758" y="513"/>
                  </a:lnTo>
                  <a:lnTo>
                    <a:pt x="6741" y="513"/>
                  </a:lnTo>
                  <a:lnTo>
                    <a:pt x="6653" y="504"/>
                  </a:lnTo>
                  <a:lnTo>
                    <a:pt x="6600" y="500"/>
                  </a:lnTo>
                  <a:lnTo>
                    <a:pt x="6568" y="496"/>
                  </a:lnTo>
                  <a:lnTo>
                    <a:pt x="6528" y="492"/>
                  </a:lnTo>
                  <a:lnTo>
                    <a:pt x="6520" y="496"/>
                  </a:lnTo>
                  <a:lnTo>
                    <a:pt x="6487" y="500"/>
                  </a:lnTo>
                  <a:lnTo>
                    <a:pt x="6467" y="513"/>
                  </a:lnTo>
                  <a:lnTo>
                    <a:pt x="6451" y="517"/>
                  </a:lnTo>
                  <a:lnTo>
                    <a:pt x="6435" y="529"/>
                  </a:lnTo>
                  <a:lnTo>
                    <a:pt x="6423" y="537"/>
                  </a:lnTo>
                  <a:lnTo>
                    <a:pt x="6423" y="541"/>
                  </a:lnTo>
                  <a:lnTo>
                    <a:pt x="6423" y="549"/>
                  </a:lnTo>
                  <a:lnTo>
                    <a:pt x="6431" y="549"/>
                  </a:lnTo>
                  <a:lnTo>
                    <a:pt x="6435" y="549"/>
                  </a:lnTo>
                  <a:lnTo>
                    <a:pt x="6443" y="565"/>
                  </a:lnTo>
                  <a:lnTo>
                    <a:pt x="6447" y="577"/>
                  </a:lnTo>
                  <a:lnTo>
                    <a:pt x="6463" y="581"/>
                  </a:lnTo>
                  <a:lnTo>
                    <a:pt x="6483" y="581"/>
                  </a:lnTo>
                  <a:lnTo>
                    <a:pt x="6503" y="585"/>
                  </a:lnTo>
                  <a:lnTo>
                    <a:pt x="6520" y="597"/>
                  </a:lnTo>
                  <a:lnTo>
                    <a:pt x="6528" y="601"/>
                  </a:lnTo>
                  <a:lnTo>
                    <a:pt x="6528" y="605"/>
                  </a:lnTo>
                  <a:lnTo>
                    <a:pt x="6532" y="605"/>
                  </a:lnTo>
                  <a:lnTo>
                    <a:pt x="6544" y="605"/>
                  </a:lnTo>
                  <a:lnTo>
                    <a:pt x="6548" y="597"/>
                  </a:lnTo>
                  <a:lnTo>
                    <a:pt x="6556" y="589"/>
                  </a:lnTo>
                  <a:lnTo>
                    <a:pt x="6572" y="589"/>
                  </a:lnTo>
                  <a:lnTo>
                    <a:pt x="6592" y="589"/>
                  </a:lnTo>
                  <a:lnTo>
                    <a:pt x="6629" y="605"/>
                  </a:lnTo>
                  <a:lnTo>
                    <a:pt x="6669" y="613"/>
                  </a:lnTo>
                  <a:lnTo>
                    <a:pt x="6673" y="613"/>
                  </a:lnTo>
                  <a:lnTo>
                    <a:pt x="6677" y="613"/>
                  </a:lnTo>
                  <a:lnTo>
                    <a:pt x="6677" y="609"/>
                  </a:lnTo>
                  <a:lnTo>
                    <a:pt x="6673" y="605"/>
                  </a:lnTo>
                  <a:lnTo>
                    <a:pt x="6669" y="597"/>
                  </a:lnTo>
                  <a:lnTo>
                    <a:pt x="6661" y="589"/>
                  </a:lnTo>
                  <a:lnTo>
                    <a:pt x="6661" y="569"/>
                  </a:lnTo>
                  <a:lnTo>
                    <a:pt x="6661" y="549"/>
                  </a:lnTo>
                  <a:lnTo>
                    <a:pt x="6673" y="549"/>
                  </a:lnTo>
                  <a:lnTo>
                    <a:pt x="6681" y="549"/>
                  </a:lnTo>
                  <a:lnTo>
                    <a:pt x="6697" y="549"/>
                  </a:lnTo>
                  <a:lnTo>
                    <a:pt x="6713" y="549"/>
                  </a:lnTo>
                  <a:lnTo>
                    <a:pt x="6717" y="553"/>
                  </a:lnTo>
                  <a:lnTo>
                    <a:pt x="6750" y="565"/>
                  </a:lnTo>
                  <a:lnTo>
                    <a:pt x="6758" y="565"/>
                  </a:lnTo>
                  <a:lnTo>
                    <a:pt x="6766" y="565"/>
                  </a:lnTo>
                  <a:lnTo>
                    <a:pt x="6770" y="565"/>
                  </a:lnTo>
                  <a:lnTo>
                    <a:pt x="6774" y="561"/>
                  </a:lnTo>
                  <a:lnTo>
                    <a:pt x="6778" y="553"/>
                  </a:lnTo>
                  <a:lnTo>
                    <a:pt x="6786" y="549"/>
                  </a:lnTo>
                  <a:lnTo>
                    <a:pt x="6794" y="549"/>
                  </a:lnTo>
                  <a:lnTo>
                    <a:pt x="6818" y="549"/>
                  </a:lnTo>
                  <a:lnTo>
                    <a:pt x="6826" y="549"/>
                  </a:lnTo>
                  <a:lnTo>
                    <a:pt x="6846" y="561"/>
                  </a:lnTo>
                  <a:lnTo>
                    <a:pt x="6850" y="573"/>
                  </a:lnTo>
                  <a:lnTo>
                    <a:pt x="6854" y="585"/>
                  </a:lnTo>
                  <a:lnTo>
                    <a:pt x="6854" y="626"/>
                  </a:lnTo>
                  <a:lnTo>
                    <a:pt x="6858" y="658"/>
                  </a:lnTo>
                  <a:lnTo>
                    <a:pt x="6854" y="662"/>
                  </a:lnTo>
                  <a:lnTo>
                    <a:pt x="6850" y="666"/>
                  </a:lnTo>
                  <a:lnTo>
                    <a:pt x="6846" y="670"/>
                  </a:lnTo>
                  <a:lnTo>
                    <a:pt x="6834" y="670"/>
                  </a:lnTo>
                  <a:lnTo>
                    <a:pt x="6842" y="682"/>
                  </a:lnTo>
                  <a:lnTo>
                    <a:pt x="6842" y="698"/>
                  </a:lnTo>
                  <a:lnTo>
                    <a:pt x="6854" y="706"/>
                  </a:lnTo>
                  <a:lnTo>
                    <a:pt x="6867" y="718"/>
                  </a:lnTo>
                  <a:lnTo>
                    <a:pt x="6875" y="718"/>
                  </a:lnTo>
                  <a:lnTo>
                    <a:pt x="6883" y="718"/>
                  </a:lnTo>
                  <a:lnTo>
                    <a:pt x="6887" y="718"/>
                  </a:lnTo>
                  <a:lnTo>
                    <a:pt x="6895" y="706"/>
                  </a:lnTo>
                  <a:lnTo>
                    <a:pt x="6895" y="694"/>
                  </a:lnTo>
                  <a:lnTo>
                    <a:pt x="6899" y="674"/>
                  </a:lnTo>
                  <a:lnTo>
                    <a:pt x="6903" y="674"/>
                  </a:lnTo>
                  <a:lnTo>
                    <a:pt x="6907" y="670"/>
                  </a:lnTo>
                  <a:lnTo>
                    <a:pt x="6907" y="662"/>
                  </a:lnTo>
                  <a:lnTo>
                    <a:pt x="6911" y="654"/>
                  </a:lnTo>
                  <a:lnTo>
                    <a:pt x="6947" y="654"/>
                  </a:lnTo>
                  <a:lnTo>
                    <a:pt x="6963" y="654"/>
                  </a:lnTo>
                  <a:lnTo>
                    <a:pt x="6963" y="658"/>
                  </a:lnTo>
                  <a:lnTo>
                    <a:pt x="6967" y="662"/>
                  </a:lnTo>
                  <a:lnTo>
                    <a:pt x="6980" y="662"/>
                  </a:lnTo>
                  <a:lnTo>
                    <a:pt x="6992" y="662"/>
                  </a:lnTo>
                  <a:lnTo>
                    <a:pt x="7000" y="674"/>
                  </a:lnTo>
                  <a:lnTo>
                    <a:pt x="7016" y="694"/>
                  </a:lnTo>
                  <a:lnTo>
                    <a:pt x="7016" y="702"/>
                  </a:lnTo>
                  <a:lnTo>
                    <a:pt x="7016" y="710"/>
                  </a:lnTo>
                  <a:lnTo>
                    <a:pt x="7000" y="730"/>
                  </a:lnTo>
                  <a:lnTo>
                    <a:pt x="6984" y="747"/>
                  </a:lnTo>
                  <a:lnTo>
                    <a:pt x="7000" y="747"/>
                  </a:lnTo>
                  <a:lnTo>
                    <a:pt x="7020" y="751"/>
                  </a:lnTo>
                  <a:lnTo>
                    <a:pt x="7024" y="755"/>
                  </a:lnTo>
                  <a:lnTo>
                    <a:pt x="7036" y="767"/>
                  </a:lnTo>
                  <a:lnTo>
                    <a:pt x="7048" y="787"/>
                  </a:lnTo>
                  <a:lnTo>
                    <a:pt x="7052" y="795"/>
                  </a:lnTo>
                  <a:lnTo>
                    <a:pt x="7064" y="807"/>
                  </a:lnTo>
                  <a:lnTo>
                    <a:pt x="7072" y="815"/>
                  </a:lnTo>
                  <a:lnTo>
                    <a:pt x="7080" y="819"/>
                  </a:lnTo>
                  <a:lnTo>
                    <a:pt x="7092" y="819"/>
                  </a:lnTo>
                  <a:lnTo>
                    <a:pt x="7101" y="827"/>
                  </a:lnTo>
                  <a:lnTo>
                    <a:pt x="7109" y="855"/>
                  </a:lnTo>
                  <a:lnTo>
                    <a:pt x="7113" y="855"/>
                  </a:lnTo>
                  <a:lnTo>
                    <a:pt x="7121" y="855"/>
                  </a:lnTo>
                  <a:lnTo>
                    <a:pt x="7121" y="892"/>
                  </a:lnTo>
                  <a:lnTo>
                    <a:pt x="7121" y="928"/>
                  </a:lnTo>
                  <a:lnTo>
                    <a:pt x="7109" y="936"/>
                  </a:lnTo>
                  <a:lnTo>
                    <a:pt x="7101" y="944"/>
                  </a:lnTo>
                  <a:lnTo>
                    <a:pt x="7092" y="944"/>
                  </a:lnTo>
                  <a:lnTo>
                    <a:pt x="7080" y="944"/>
                  </a:lnTo>
                  <a:lnTo>
                    <a:pt x="7076" y="940"/>
                  </a:lnTo>
                  <a:lnTo>
                    <a:pt x="7064" y="928"/>
                  </a:lnTo>
                  <a:lnTo>
                    <a:pt x="7048" y="924"/>
                  </a:lnTo>
                  <a:lnTo>
                    <a:pt x="7032" y="924"/>
                  </a:lnTo>
                  <a:lnTo>
                    <a:pt x="7024" y="920"/>
                  </a:lnTo>
                  <a:lnTo>
                    <a:pt x="7020" y="920"/>
                  </a:lnTo>
                  <a:lnTo>
                    <a:pt x="7016" y="916"/>
                  </a:lnTo>
                  <a:lnTo>
                    <a:pt x="7012" y="880"/>
                  </a:lnTo>
                  <a:lnTo>
                    <a:pt x="7008" y="872"/>
                  </a:lnTo>
                  <a:lnTo>
                    <a:pt x="6992" y="864"/>
                  </a:lnTo>
                  <a:lnTo>
                    <a:pt x="6967" y="860"/>
                  </a:lnTo>
                  <a:lnTo>
                    <a:pt x="6967" y="864"/>
                  </a:lnTo>
                  <a:lnTo>
                    <a:pt x="6955" y="864"/>
                  </a:lnTo>
                  <a:lnTo>
                    <a:pt x="6947" y="864"/>
                  </a:lnTo>
                  <a:lnTo>
                    <a:pt x="6935" y="860"/>
                  </a:lnTo>
                  <a:lnTo>
                    <a:pt x="6927" y="860"/>
                  </a:lnTo>
                  <a:lnTo>
                    <a:pt x="6915" y="864"/>
                  </a:lnTo>
                  <a:lnTo>
                    <a:pt x="6907" y="872"/>
                  </a:lnTo>
                  <a:lnTo>
                    <a:pt x="6879" y="872"/>
                  </a:lnTo>
                  <a:lnTo>
                    <a:pt x="6850" y="868"/>
                  </a:lnTo>
                  <a:lnTo>
                    <a:pt x="6842" y="864"/>
                  </a:lnTo>
                  <a:lnTo>
                    <a:pt x="6834" y="864"/>
                  </a:lnTo>
                  <a:lnTo>
                    <a:pt x="6830" y="855"/>
                  </a:lnTo>
                  <a:lnTo>
                    <a:pt x="6826" y="847"/>
                  </a:lnTo>
                  <a:lnTo>
                    <a:pt x="6822" y="831"/>
                  </a:lnTo>
                  <a:lnTo>
                    <a:pt x="6818" y="819"/>
                  </a:lnTo>
                  <a:lnTo>
                    <a:pt x="6818" y="815"/>
                  </a:lnTo>
                  <a:lnTo>
                    <a:pt x="6814" y="811"/>
                  </a:lnTo>
                  <a:lnTo>
                    <a:pt x="6786" y="807"/>
                  </a:lnTo>
                  <a:lnTo>
                    <a:pt x="6758" y="807"/>
                  </a:lnTo>
                  <a:lnTo>
                    <a:pt x="6733" y="783"/>
                  </a:lnTo>
                  <a:lnTo>
                    <a:pt x="6709" y="767"/>
                  </a:lnTo>
                  <a:lnTo>
                    <a:pt x="6705" y="755"/>
                  </a:lnTo>
                  <a:lnTo>
                    <a:pt x="6705" y="751"/>
                  </a:lnTo>
                  <a:lnTo>
                    <a:pt x="6697" y="747"/>
                  </a:lnTo>
                  <a:lnTo>
                    <a:pt x="6681" y="734"/>
                  </a:lnTo>
                  <a:lnTo>
                    <a:pt x="6677" y="734"/>
                  </a:lnTo>
                  <a:lnTo>
                    <a:pt x="6673" y="730"/>
                  </a:lnTo>
                  <a:lnTo>
                    <a:pt x="6669" y="730"/>
                  </a:lnTo>
                  <a:lnTo>
                    <a:pt x="6661" y="734"/>
                  </a:lnTo>
                  <a:lnTo>
                    <a:pt x="6657" y="743"/>
                  </a:lnTo>
                  <a:lnTo>
                    <a:pt x="6653" y="751"/>
                  </a:lnTo>
                  <a:lnTo>
                    <a:pt x="6645" y="751"/>
                  </a:lnTo>
                  <a:lnTo>
                    <a:pt x="6633" y="755"/>
                  </a:lnTo>
                  <a:lnTo>
                    <a:pt x="6633" y="767"/>
                  </a:lnTo>
                  <a:lnTo>
                    <a:pt x="6633" y="775"/>
                  </a:lnTo>
                  <a:lnTo>
                    <a:pt x="6625" y="783"/>
                  </a:lnTo>
                  <a:lnTo>
                    <a:pt x="6620" y="795"/>
                  </a:lnTo>
                  <a:lnTo>
                    <a:pt x="6604" y="799"/>
                  </a:lnTo>
                  <a:lnTo>
                    <a:pt x="6592" y="811"/>
                  </a:lnTo>
                  <a:lnTo>
                    <a:pt x="6592" y="827"/>
                  </a:lnTo>
                  <a:lnTo>
                    <a:pt x="6592" y="847"/>
                  </a:lnTo>
                  <a:lnTo>
                    <a:pt x="6580" y="851"/>
                  </a:lnTo>
                  <a:lnTo>
                    <a:pt x="6576" y="855"/>
                  </a:lnTo>
                  <a:lnTo>
                    <a:pt x="6520" y="872"/>
                  </a:lnTo>
                  <a:lnTo>
                    <a:pt x="6512" y="876"/>
                  </a:lnTo>
                  <a:lnTo>
                    <a:pt x="6503" y="876"/>
                  </a:lnTo>
                  <a:lnTo>
                    <a:pt x="6491" y="876"/>
                  </a:lnTo>
                  <a:lnTo>
                    <a:pt x="6491" y="864"/>
                  </a:lnTo>
                  <a:lnTo>
                    <a:pt x="6491" y="855"/>
                  </a:lnTo>
                  <a:lnTo>
                    <a:pt x="6491" y="835"/>
                  </a:lnTo>
                  <a:lnTo>
                    <a:pt x="6495" y="823"/>
                  </a:lnTo>
                  <a:lnTo>
                    <a:pt x="6512" y="815"/>
                  </a:lnTo>
                  <a:lnTo>
                    <a:pt x="6520" y="807"/>
                  </a:lnTo>
                  <a:lnTo>
                    <a:pt x="6528" y="787"/>
                  </a:lnTo>
                  <a:lnTo>
                    <a:pt x="6532" y="767"/>
                  </a:lnTo>
                  <a:lnTo>
                    <a:pt x="6532" y="734"/>
                  </a:lnTo>
                  <a:lnTo>
                    <a:pt x="6528" y="722"/>
                  </a:lnTo>
                  <a:lnTo>
                    <a:pt x="6516" y="706"/>
                  </a:lnTo>
                  <a:lnTo>
                    <a:pt x="6503" y="694"/>
                  </a:lnTo>
                  <a:lnTo>
                    <a:pt x="6483" y="690"/>
                  </a:lnTo>
                  <a:lnTo>
                    <a:pt x="6459" y="682"/>
                  </a:lnTo>
                  <a:lnTo>
                    <a:pt x="6447" y="682"/>
                  </a:lnTo>
                  <a:lnTo>
                    <a:pt x="6427" y="682"/>
                  </a:lnTo>
                  <a:lnTo>
                    <a:pt x="6399" y="690"/>
                  </a:lnTo>
                  <a:lnTo>
                    <a:pt x="6395" y="694"/>
                  </a:lnTo>
                  <a:lnTo>
                    <a:pt x="6326" y="694"/>
                  </a:lnTo>
                  <a:lnTo>
                    <a:pt x="6257" y="694"/>
                  </a:lnTo>
                  <a:lnTo>
                    <a:pt x="6249" y="690"/>
                  </a:lnTo>
                  <a:lnTo>
                    <a:pt x="6233" y="682"/>
                  </a:lnTo>
                  <a:lnTo>
                    <a:pt x="6221" y="654"/>
                  </a:lnTo>
                  <a:lnTo>
                    <a:pt x="6205" y="634"/>
                  </a:lnTo>
                  <a:lnTo>
                    <a:pt x="6205" y="626"/>
                  </a:lnTo>
                  <a:lnTo>
                    <a:pt x="6201" y="617"/>
                  </a:lnTo>
                  <a:lnTo>
                    <a:pt x="6197" y="613"/>
                  </a:lnTo>
                  <a:lnTo>
                    <a:pt x="6189" y="609"/>
                  </a:lnTo>
                  <a:lnTo>
                    <a:pt x="6185" y="597"/>
                  </a:lnTo>
                  <a:lnTo>
                    <a:pt x="6181" y="585"/>
                  </a:lnTo>
                  <a:lnTo>
                    <a:pt x="6173" y="573"/>
                  </a:lnTo>
                  <a:lnTo>
                    <a:pt x="6157" y="561"/>
                  </a:lnTo>
                  <a:lnTo>
                    <a:pt x="6116" y="561"/>
                  </a:lnTo>
                  <a:lnTo>
                    <a:pt x="6068" y="561"/>
                  </a:lnTo>
                  <a:lnTo>
                    <a:pt x="6056" y="541"/>
                  </a:lnTo>
                  <a:lnTo>
                    <a:pt x="6040" y="533"/>
                  </a:lnTo>
                  <a:lnTo>
                    <a:pt x="6027" y="533"/>
                  </a:lnTo>
                  <a:lnTo>
                    <a:pt x="6015" y="533"/>
                  </a:lnTo>
                  <a:lnTo>
                    <a:pt x="5999" y="525"/>
                  </a:lnTo>
                  <a:lnTo>
                    <a:pt x="5987" y="525"/>
                  </a:lnTo>
                  <a:lnTo>
                    <a:pt x="5983" y="529"/>
                  </a:lnTo>
                  <a:lnTo>
                    <a:pt x="5975" y="529"/>
                  </a:lnTo>
                  <a:lnTo>
                    <a:pt x="5923" y="529"/>
                  </a:lnTo>
                  <a:lnTo>
                    <a:pt x="5866" y="529"/>
                  </a:lnTo>
                  <a:lnTo>
                    <a:pt x="5862" y="525"/>
                  </a:lnTo>
                  <a:lnTo>
                    <a:pt x="5850" y="525"/>
                  </a:lnTo>
                  <a:lnTo>
                    <a:pt x="5842" y="533"/>
                  </a:lnTo>
                  <a:lnTo>
                    <a:pt x="5830" y="549"/>
                  </a:lnTo>
                  <a:lnTo>
                    <a:pt x="5818" y="549"/>
                  </a:lnTo>
                  <a:lnTo>
                    <a:pt x="5785" y="549"/>
                  </a:lnTo>
                  <a:lnTo>
                    <a:pt x="5753" y="549"/>
                  </a:lnTo>
                  <a:lnTo>
                    <a:pt x="5733" y="533"/>
                  </a:lnTo>
                  <a:lnTo>
                    <a:pt x="5725" y="525"/>
                  </a:lnTo>
                  <a:lnTo>
                    <a:pt x="5685" y="517"/>
                  </a:lnTo>
                  <a:lnTo>
                    <a:pt x="5648" y="517"/>
                  </a:lnTo>
                  <a:lnTo>
                    <a:pt x="5644" y="513"/>
                  </a:lnTo>
                  <a:lnTo>
                    <a:pt x="5612" y="513"/>
                  </a:lnTo>
                  <a:lnTo>
                    <a:pt x="5588" y="513"/>
                  </a:lnTo>
                  <a:lnTo>
                    <a:pt x="5555" y="513"/>
                  </a:lnTo>
                  <a:lnTo>
                    <a:pt x="5499" y="504"/>
                  </a:lnTo>
                  <a:lnTo>
                    <a:pt x="5495" y="513"/>
                  </a:lnTo>
                  <a:lnTo>
                    <a:pt x="5487" y="513"/>
                  </a:lnTo>
                  <a:lnTo>
                    <a:pt x="5479" y="533"/>
                  </a:lnTo>
                  <a:lnTo>
                    <a:pt x="5475" y="549"/>
                  </a:lnTo>
                  <a:lnTo>
                    <a:pt x="5475" y="553"/>
                  </a:lnTo>
                  <a:lnTo>
                    <a:pt x="5475" y="569"/>
                  </a:lnTo>
                  <a:lnTo>
                    <a:pt x="5475" y="573"/>
                  </a:lnTo>
                  <a:lnTo>
                    <a:pt x="5479" y="577"/>
                  </a:lnTo>
                  <a:lnTo>
                    <a:pt x="5487" y="581"/>
                  </a:lnTo>
                  <a:lnTo>
                    <a:pt x="5495" y="585"/>
                  </a:lnTo>
                  <a:lnTo>
                    <a:pt x="5527" y="589"/>
                  </a:lnTo>
                  <a:lnTo>
                    <a:pt x="5555" y="597"/>
                  </a:lnTo>
                  <a:lnTo>
                    <a:pt x="5559" y="597"/>
                  </a:lnTo>
                  <a:lnTo>
                    <a:pt x="5564" y="601"/>
                  </a:lnTo>
                  <a:lnTo>
                    <a:pt x="5564" y="609"/>
                  </a:lnTo>
                  <a:lnTo>
                    <a:pt x="5564" y="617"/>
                  </a:lnTo>
                  <a:lnTo>
                    <a:pt x="5547" y="634"/>
                  </a:lnTo>
                  <a:lnTo>
                    <a:pt x="5527" y="654"/>
                  </a:lnTo>
                  <a:lnTo>
                    <a:pt x="5523" y="654"/>
                  </a:lnTo>
                  <a:lnTo>
                    <a:pt x="5515" y="654"/>
                  </a:lnTo>
                  <a:lnTo>
                    <a:pt x="5523" y="658"/>
                  </a:lnTo>
                  <a:lnTo>
                    <a:pt x="5511" y="666"/>
                  </a:lnTo>
                  <a:lnTo>
                    <a:pt x="5499" y="674"/>
                  </a:lnTo>
                  <a:lnTo>
                    <a:pt x="5499" y="706"/>
                  </a:lnTo>
                  <a:lnTo>
                    <a:pt x="5503" y="743"/>
                  </a:lnTo>
                  <a:lnTo>
                    <a:pt x="5507" y="751"/>
                  </a:lnTo>
                  <a:lnTo>
                    <a:pt x="5511" y="767"/>
                  </a:lnTo>
                  <a:lnTo>
                    <a:pt x="5511" y="811"/>
                  </a:lnTo>
                  <a:lnTo>
                    <a:pt x="5511" y="860"/>
                  </a:lnTo>
                  <a:lnTo>
                    <a:pt x="5507" y="872"/>
                  </a:lnTo>
                  <a:lnTo>
                    <a:pt x="5503" y="884"/>
                  </a:lnTo>
                  <a:lnTo>
                    <a:pt x="5503" y="892"/>
                  </a:lnTo>
                  <a:lnTo>
                    <a:pt x="5499" y="892"/>
                  </a:lnTo>
                  <a:lnTo>
                    <a:pt x="5483" y="896"/>
                  </a:lnTo>
                  <a:lnTo>
                    <a:pt x="5463" y="900"/>
                  </a:lnTo>
                  <a:lnTo>
                    <a:pt x="5447" y="912"/>
                  </a:lnTo>
                  <a:lnTo>
                    <a:pt x="5430" y="920"/>
                  </a:lnTo>
                  <a:lnTo>
                    <a:pt x="5414" y="920"/>
                  </a:lnTo>
                  <a:lnTo>
                    <a:pt x="5398" y="920"/>
                  </a:lnTo>
                  <a:lnTo>
                    <a:pt x="5390" y="924"/>
                  </a:lnTo>
                  <a:lnTo>
                    <a:pt x="5378" y="928"/>
                  </a:lnTo>
                  <a:lnTo>
                    <a:pt x="5313" y="944"/>
                  </a:lnTo>
                  <a:lnTo>
                    <a:pt x="5281" y="952"/>
                  </a:lnTo>
                  <a:lnTo>
                    <a:pt x="5277" y="960"/>
                  </a:lnTo>
                  <a:lnTo>
                    <a:pt x="5269" y="964"/>
                  </a:lnTo>
                  <a:lnTo>
                    <a:pt x="5249" y="964"/>
                  </a:lnTo>
                  <a:lnTo>
                    <a:pt x="5225" y="964"/>
                  </a:lnTo>
                  <a:lnTo>
                    <a:pt x="5213" y="960"/>
                  </a:lnTo>
                  <a:lnTo>
                    <a:pt x="5188" y="956"/>
                  </a:lnTo>
                  <a:lnTo>
                    <a:pt x="5184" y="952"/>
                  </a:lnTo>
                  <a:lnTo>
                    <a:pt x="5172" y="944"/>
                  </a:lnTo>
                  <a:lnTo>
                    <a:pt x="5144" y="940"/>
                  </a:lnTo>
                  <a:lnTo>
                    <a:pt x="5112" y="928"/>
                  </a:lnTo>
                  <a:lnTo>
                    <a:pt x="5104" y="920"/>
                  </a:lnTo>
                  <a:lnTo>
                    <a:pt x="5100" y="916"/>
                  </a:lnTo>
                  <a:lnTo>
                    <a:pt x="5087" y="912"/>
                  </a:lnTo>
                  <a:lnTo>
                    <a:pt x="5083" y="912"/>
                  </a:lnTo>
                  <a:lnTo>
                    <a:pt x="5071" y="900"/>
                  </a:lnTo>
                  <a:lnTo>
                    <a:pt x="5059" y="892"/>
                  </a:lnTo>
                  <a:lnTo>
                    <a:pt x="5043" y="884"/>
                  </a:lnTo>
                  <a:lnTo>
                    <a:pt x="5031" y="884"/>
                  </a:lnTo>
                  <a:lnTo>
                    <a:pt x="5019" y="892"/>
                  </a:lnTo>
                  <a:lnTo>
                    <a:pt x="5003" y="892"/>
                  </a:lnTo>
                  <a:lnTo>
                    <a:pt x="4979" y="904"/>
                  </a:lnTo>
                  <a:lnTo>
                    <a:pt x="4946" y="928"/>
                  </a:lnTo>
                  <a:lnTo>
                    <a:pt x="4938" y="940"/>
                  </a:lnTo>
                  <a:lnTo>
                    <a:pt x="4930" y="948"/>
                  </a:lnTo>
                  <a:lnTo>
                    <a:pt x="4914" y="952"/>
                  </a:lnTo>
                  <a:lnTo>
                    <a:pt x="4890" y="956"/>
                  </a:lnTo>
                  <a:lnTo>
                    <a:pt x="4870" y="956"/>
                  </a:lnTo>
                  <a:lnTo>
                    <a:pt x="4845" y="956"/>
                  </a:lnTo>
                  <a:lnTo>
                    <a:pt x="4841" y="952"/>
                  </a:lnTo>
                  <a:lnTo>
                    <a:pt x="4833" y="952"/>
                  </a:lnTo>
                  <a:lnTo>
                    <a:pt x="4825" y="952"/>
                  </a:lnTo>
                  <a:lnTo>
                    <a:pt x="4817" y="956"/>
                  </a:lnTo>
                  <a:lnTo>
                    <a:pt x="4765" y="956"/>
                  </a:lnTo>
                  <a:lnTo>
                    <a:pt x="4712" y="956"/>
                  </a:lnTo>
                  <a:lnTo>
                    <a:pt x="4696" y="960"/>
                  </a:lnTo>
                  <a:lnTo>
                    <a:pt x="4676" y="960"/>
                  </a:lnTo>
                  <a:lnTo>
                    <a:pt x="4664" y="977"/>
                  </a:lnTo>
                  <a:lnTo>
                    <a:pt x="4652" y="985"/>
                  </a:lnTo>
                  <a:lnTo>
                    <a:pt x="4652" y="993"/>
                  </a:lnTo>
                  <a:lnTo>
                    <a:pt x="4644" y="1001"/>
                  </a:lnTo>
                  <a:lnTo>
                    <a:pt x="4644" y="1025"/>
                  </a:lnTo>
                  <a:lnTo>
                    <a:pt x="4640" y="1053"/>
                  </a:lnTo>
                  <a:lnTo>
                    <a:pt x="4616" y="1061"/>
                  </a:lnTo>
                  <a:lnTo>
                    <a:pt x="4591" y="1069"/>
                  </a:lnTo>
                  <a:lnTo>
                    <a:pt x="4583" y="1077"/>
                  </a:lnTo>
                  <a:lnTo>
                    <a:pt x="4575" y="1089"/>
                  </a:lnTo>
                  <a:lnTo>
                    <a:pt x="4567" y="1098"/>
                  </a:lnTo>
                  <a:lnTo>
                    <a:pt x="4559" y="1106"/>
                  </a:lnTo>
                  <a:lnTo>
                    <a:pt x="4559" y="1122"/>
                  </a:lnTo>
                  <a:lnTo>
                    <a:pt x="4559" y="1142"/>
                  </a:lnTo>
                  <a:lnTo>
                    <a:pt x="4527" y="1150"/>
                  </a:lnTo>
                  <a:lnTo>
                    <a:pt x="4494" y="1154"/>
                  </a:lnTo>
                  <a:lnTo>
                    <a:pt x="4490" y="1158"/>
                  </a:lnTo>
                  <a:lnTo>
                    <a:pt x="4486" y="1158"/>
                  </a:lnTo>
                  <a:lnTo>
                    <a:pt x="4478" y="1166"/>
                  </a:lnTo>
                  <a:lnTo>
                    <a:pt x="4474" y="1170"/>
                  </a:lnTo>
                  <a:lnTo>
                    <a:pt x="4458" y="1174"/>
                  </a:lnTo>
                  <a:lnTo>
                    <a:pt x="4434" y="1174"/>
                  </a:lnTo>
                  <a:lnTo>
                    <a:pt x="4422" y="1182"/>
                  </a:lnTo>
                  <a:lnTo>
                    <a:pt x="4418" y="1190"/>
                  </a:lnTo>
                  <a:lnTo>
                    <a:pt x="4422" y="1223"/>
                  </a:lnTo>
                  <a:lnTo>
                    <a:pt x="4422" y="1259"/>
                  </a:lnTo>
                  <a:lnTo>
                    <a:pt x="4422" y="1271"/>
                  </a:lnTo>
                  <a:lnTo>
                    <a:pt x="4418" y="1291"/>
                  </a:lnTo>
                  <a:lnTo>
                    <a:pt x="4398" y="1295"/>
                  </a:lnTo>
                  <a:lnTo>
                    <a:pt x="4382" y="1303"/>
                  </a:lnTo>
                  <a:lnTo>
                    <a:pt x="4377" y="1311"/>
                  </a:lnTo>
                  <a:lnTo>
                    <a:pt x="4365" y="1319"/>
                  </a:lnTo>
                  <a:lnTo>
                    <a:pt x="4365" y="1328"/>
                  </a:lnTo>
                  <a:lnTo>
                    <a:pt x="4361" y="1340"/>
                  </a:lnTo>
                  <a:lnTo>
                    <a:pt x="4361" y="1344"/>
                  </a:lnTo>
                  <a:lnTo>
                    <a:pt x="4357" y="1344"/>
                  </a:lnTo>
                  <a:lnTo>
                    <a:pt x="4357" y="1368"/>
                  </a:lnTo>
                  <a:lnTo>
                    <a:pt x="4357" y="1392"/>
                  </a:lnTo>
                  <a:lnTo>
                    <a:pt x="4345" y="1404"/>
                  </a:lnTo>
                  <a:lnTo>
                    <a:pt x="4329" y="1424"/>
                  </a:lnTo>
                  <a:lnTo>
                    <a:pt x="4325" y="1428"/>
                  </a:lnTo>
                  <a:lnTo>
                    <a:pt x="4313" y="1440"/>
                  </a:lnTo>
                  <a:lnTo>
                    <a:pt x="4297" y="1465"/>
                  </a:lnTo>
                  <a:lnTo>
                    <a:pt x="4281" y="1481"/>
                  </a:lnTo>
                  <a:lnTo>
                    <a:pt x="4273" y="1485"/>
                  </a:lnTo>
                  <a:lnTo>
                    <a:pt x="4265" y="1489"/>
                  </a:lnTo>
                  <a:lnTo>
                    <a:pt x="4232" y="1493"/>
                  </a:lnTo>
                  <a:lnTo>
                    <a:pt x="4216" y="1501"/>
                  </a:lnTo>
                  <a:lnTo>
                    <a:pt x="4184" y="1501"/>
                  </a:lnTo>
                  <a:lnTo>
                    <a:pt x="4115" y="1489"/>
                  </a:lnTo>
                  <a:lnTo>
                    <a:pt x="4099" y="1485"/>
                  </a:lnTo>
                  <a:lnTo>
                    <a:pt x="4079" y="1477"/>
                  </a:lnTo>
                  <a:lnTo>
                    <a:pt x="4071" y="1465"/>
                  </a:lnTo>
                  <a:lnTo>
                    <a:pt x="4063" y="1449"/>
                  </a:lnTo>
                  <a:lnTo>
                    <a:pt x="4047" y="1445"/>
                  </a:lnTo>
                  <a:lnTo>
                    <a:pt x="4018" y="1440"/>
                  </a:lnTo>
                  <a:lnTo>
                    <a:pt x="4018" y="1436"/>
                  </a:lnTo>
                  <a:lnTo>
                    <a:pt x="4014" y="1424"/>
                  </a:lnTo>
                  <a:lnTo>
                    <a:pt x="4002" y="1424"/>
                  </a:lnTo>
                  <a:lnTo>
                    <a:pt x="3990" y="1416"/>
                  </a:lnTo>
                  <a:lnTo>
                    <a:pt x="3978" y="1408"/>
                  </a:lnTo>
                  <a:lnTo>
                    <a:pt x="3974" y="1404"/>
                  </a:lnTo>
                  <a:lnTo>
                    <a:pt x="3962" y="1404"/>
                  </a:lnTo>
                  <a:lnTo>
                    <a:pt x="3946" y="1400"/>
                  </a:lnTo>
                  <a:lnTo>
                    <a:pt x="3926" y="1400"/>
                  </a:lnTo>
                  <a:lnTo>
                    <a:pt x="3914" y="1400"/>
                  </a:lnTo>
                  <a:lnTo>
                    <a:pt x="3905" y="1408"/>
                  </a:lnTo>
                  <a:lnTo>
                    <a:pt x="3893" y="1424"/>
                  </a:lnTo>
                  <a:lnTo>
                    <a:pt x="3885" y="1424"/>
                  </a:lnTo>
                  <a:lnTo>
                    <a:pt x="3877" y="1424"/>
                  </a:lnTo>
                  <a:lnTo>
                    <a:pt x="3857" y="1440"/>
                  </a:lnTo>
                  <a:lnTo>
                    <a:pt x="3833" y="1457"/>
                  </a:lnTo>
                  <a:lnTo>
                    <a:pt x="3821" y="1465"/>
                  </a:lnTo>
                  <a:lnTo>
                    <a:pt x="3809" y="1465"/>
                  </a:lnTo>
                  <a:lnTo>
                    <a:pt x="3801" y="1473"/>
                  </a:lnTo>
                  <a:lnTo>
                    <a:pt x="3797" y="1477"/>
                  </a:lnTo>
                  <a:lnTo>
                    <a:pt x="3789" y="1481"/>
                  </a:lnTo>
                  <a:lnTo>
                    <a:pt x="3776" y="1485"/>
                  </a:lnTo>
                  <a:lnTo>
                    <a:pt x="3772" y="1489"/>
                  </a:lnTo>
                  <a:lnTo>
                    <a:pt x="3772" y="1493"/>
                  </a:lnTo>
                  <a:lnTo>
                    <a:pt x="3772" y="1509"/>
                  </a:lnTo>
                  <a:lnTo>
                    <a:pt x="3776" y="1521"/>
                  </a:lnTo>
                  <a:lnTo>
                    <a:pt x="3772" y="1521"/>
                  </a:lnTo>
                  <a:lnTo>
                    <a:pt x="3768" y="1525"/>
                  </a:lnTo>
                  <a:lnTo>
                    <a:pt x="3768" y="1549"/>
                  </a:lnTo>
                  <a:lnTo>
                    <a:pt x="3764" y="1566"/>
                  </a:lnTo>
                  <a:lnTo>
                    <a:pt x="3760" y="1570"/>
                  </a:lnTo>
                  <a:lnTo>
                    <a:pt x="3756" y="1574"/>
                  </a:lnTo>
                  <a:lnTo>
                    <a:pt x="3740" y="1578"/>
                  </a:lnTo>
                  <a:lnTo>
                    <a:pt x="3728" y="1582"/>
                  </a:lnTo>
                  <a:lnTo>
                    <a:pt x="3716" y="1594"/>
                  </a:lnTo>
                  <a:lnTo>
                    <a:pt x="3708" y="1606"/>
                  </a:lnTo>
                  <a:lnTo>
                    <a:pt x="3667" y="1606"/>
                  </a:lnTo>
                  <a:lnTo>
                    <a:pt x="3635" y="1610"/>
                  </a:lnTo>
                  <a:lnTo>
                    <a:pt x="3635" y="1598"/>
                  </a:lnTo>
                  <a:lnTo>
                    <a:pt x="3635" y="1582"/>
                  </a:lnTo>
                  <a:lnTo>
                    <a:pt x="3619" y="1582"/>
                  </a:lnTo>
                  <a:lnTo>
                    <a:pt x="3595" y="1578"/>
                  </a:lnTo>
                  <a:lnTo>
                    <a:pt x="3587" y="1574"/>
                  </a:lnTo>
                  <a:lnTo>
                    <a:pt x="3583" y="1570"/>
                  </a:lnTo>
                  <a:lnTo>
                    <a:pt x="3567" y="1570"/>
                  </a:lnTo>
                  <a:lnTo>
                    <a:pt x="3526" y="1574"/>
                  </a:lnTo>
                  <a:lnTo>
                    <a:pt x="3494" y="1566"/>
                  </a:lnTo>
                  <a:lnTo>
                    <a:pt x="3458" y="1562"/>
                  </a:lnTo>
                  <a:lnTo>
                    <a:pt x="3454" y="1562"/>
                  </a:lnTo>
                  <a:lnTo>
                    <a:pt x="3442" y="1566"/>
                  </a:lnTo>
                  <a:lnTo>
                    <a:pt x="3438" y="1574"/>
                  </a:lnTo>
                  <a:lnTo>
                    <a:pt x="3434" y="1578"/>
                  </a:lnTo>
                  <a:lnTo>
                    <a:pt x="3409" y="1594"/>
                  </a:lnTo>
                  <a:lnTo>
                    <a:pt x="3377" y="1610"/>
                  </a:lnTo>
                  <a:lnTo>
                    <a:pt x="3317" y="1626"/>
                  </a:lnTo>
                  <a:lnTo>
                    <a:pt x="3280" y="1642"/>
                  </a:lnTo>
                  <a:lnTo>
                    <a:pt x="3260" y="1646"/>
                  </a:lnTo>
                  <a:lnTo>
                    <a:pt x="3228" y="1654"/>
                  </a:lnTo>
                  <a:lnTo>
                    <a:pt x="3224" y="1658"/>
                  </a:lnTo>
                  <a:lnTo>
                    <a:pt x="3216" y="1662"/>
                  </a:lnTo>
                  <a:lnTo>
                    <a:pt x="3195" y="1670"/>
                  </a:lnTo>
                  <a:lnTo>
                    <a:pt x="3163" y="1674"/>
                  </a:lnTo>
                  <a:lnTo>
                    <a:pt x="3163" y="1683"/>
                  </a:lnTo>
                  <a:lnTo>
                    <a:pt x="3143" y="1687"/>
                  </a:lnTo>
                  <a:lnTo>
                    <a:pt x="3119" y="1691"/>
                  </a:lnTo>
                  <a:lnTo>
                    <a:pt x="3103" y="1695"/>
                  </a:lnTo>
                  <a:lnTo>
                    <a:pt x="3095" y="1699"/>
                  </a:lnTo>
                  <a:lnTo>
                    <a:pt x="3083" y="1699"/>
                  </a:lnTo>
                  <a:lnTo>
                    <a:pt x="3066" y="1699"/>
                  </a:lnTo>
                  <a:lnTo>
                    <a:pt x="3050" y="1695"/>
                  </a:lnTo>
                  <a:lnTo>
                    <a:pt x="3014" y="1691"/>
                  </a:lnTo>
                  <a:lnTo>
                    <a:pt x="3006" y="1683"/>
                  </a:lnTo>
                  <a:lnTo>
                    <a:pt x="2990" y="1674"/>
                  </a:lnTo>
                  <a:lnTo>
                    <a:pt x="2970" y="1674"/>
                  </a:lnTo>
                  <a:lnTo>
                    <a:pt x="2949" y="1674"/>
                  </a:lnTo>
                  <a:lnTo>
                    <a:pt x="2917" y="1666"/>
                  </a:lnTo>
                  <a:lnTo>
                    <a:pt x="2881" y="1662"/>
                  </a:lnTo>
                  <a:lnTo>
                    <a:pt x="2861" y="1662"/>
                  </a:lnTo>
                  <a:lnTo>
                    <a:pt x="2836" y="1662"/>
                  </a:lnTo>
                  <a:lnTo>
                    <a:pt x="2816" y="1666"/>
                  </a:lnTo>
                  <a:lnTo>
                    <a:pt x="2796" y="1670"/>
                  </a:lnTo>
                  <a:lnTo>
                    <a:pt x="2792" y="1707"/>
                  </a:lnTo>
                  <a:lnTo>
                    <a:pt x="2788" y="1719"/>
                  </a:lnTo>
                  <a:lnTo>
                    <a:pt x="2784" y="1723"/>
                  </a:lnTo>
                  <a:lnTo>
                    <a:pt x="2776" y="1731"/>
                  </a:lnTo>
                  <a:lnTo>
                    <a:pt x="2744" y="1743"/>
                  </a:lnTo>
                  <a:lnTo>
                    <a:pt x="2736" y="1743"/>
                  </a:lnTo>
                  <a:lnTo>
                    <a:pt x="2728" y="1743"/>
                  </a:lnTo>
                  <a:lnTo>
                    <a:pt x="2711" y="1743"/>
                  </a:lnTo>
                  <a:lnTo>
                    <a:pt x="2707" y="1743"/>
                  </a:lnTo>
                  <a:lnTo>
                    <a:pt x="2699" y="1747"/>
                  </a:lnTo>
                  <a:lnTo>
                    <a:pt x="2675" y="1755"/>
                  </a:lnTo>
                  <a:lnTo>
                    <a:pt x="2647" y="1755"/>
                  </a:lnTo>
                  <a:lnTo>
                    <a:pt x="2643" y="1747"/>
                  </a:lnTo>
                  <a:lnTo>
                    <a:pt x="2635" y="1743"/>
                  </a:lnTo>
                  <a:lnTo>
                    <a:pt x="2627" y="1743"/>
                  </a:lnTo>
                  <a:lnTo>
                    <a:pt x="2619" y="1743"/>
                  </a:lnTo>
                  <a:lnTo>
                    <a:pt x="2607" y="1731"/>
                  </a:lnTo>
                  <a:lnTo>
                    <a:pt x="2594" y="1723"/>
                  </a:lnTo>
                  <a:lnTo>
                    <a:pt x="2586" y="1707"/>
                  </a:lnTo>
                  <a:lnTo>
                    <a:pt x="2578" y="1695"/>
                  </a:lnTo>
                  <a:lnTo>
                    <a:pt x="2566" y="1695"/>
                  </a:lnTo>
                  <a:lnTo>
                    <a:pt x="2554" y="1695"/>
                  </a:lnTo>
                  <a:lnTo>
                    <a:pt x="2546" y="1707"/>
                  </a:lnTo>
                  <a:lnTo>
                    <a:pt x="2534" y="1719"/>
                  </a:lnTo>
                  <a:lnTo>
                    <a:pt x="2530" y="1727"/>
                  </a:lnTo>
                  <a:lnTo>
                    <a:pt x="2526" y="1735"/>
                  </a:lnTo>
                  <a:lnTo>
                    <a:pt x="2514" y="1747"/>
                  </a:lnTo>
                  <a:lnTo>
                    <a:pt x="2510" y="1763"/>
                  </a:lnTo>
                  <a:lnTo>
                    <a:pt x="2502" y="1763"/>
                  </a:lnTo>
                  <a:lnTo>
                    <a:pt x="2498" y="1767"/>
                  </a:lnTo>
                  <a:lnTo>
                    <a:pt x="2498" y="1775"/>
                  </a:lnTo>
                  <a:lnTo>
                    <a:pt x="2490" y="1783"/>
                  </a:lnTo>
                  <a:lnTo>
                    <a:pt x="2485" y="1791"/>
                  </a:lnTo>
                  <a:lnTo>
                    <a:pt x="2477" y="1796"/>
                  </a:lnTo>
                  <a:lnTo>
                    <a:pt x="2473" y="1804"/>
                  </a:lnTo>
                  <a:lnTo>
                    <a:pt x="2469" y="1812"/>
                  </a:lnTo>
                  <a:lnTo>
                    <a:pt x="2449" y="1812"/>
                  </a:lnTo>
                  <a:lnTo>
                    <a:pt x="2429" y="1816"/>
                  </a:lnTo>
                  <a:lnTo>
                    <a:pt x="2425" y="1820"/>
                  </a:lnTo>
                  <a:lnTo>
                    <a:pt x="2405" y="1828"/>
                  </a:lnTo>
                  <a:lnTo>
                    <a:pt x="2373" y="1832"/>
                  </a:lnTo>
                  <a:lnTo>
                    <a:pt x="2332" y="1844"/>
                  </a:lnTo>
                  <a:lnTo>
                    <a:pt x="2292" y="1844"/>
                  </a:lnTo>
                  <a:lnTo>
                    <a:pt x="2256" y="1844"/>
                  </a:lnTo>
                  <a:lnTo>
                    <a:pt x="2239" y="1840"/>
                  </a:lnTo>
                  <a:lnTo>
                    <a:pt x="2215" y="1832"/>
                  </a:lnTo>
                  <a:lnTo>
                    <a:pt x="2199" y="1824"/>
                  </a:lnTo>
                  <a:lnTo>
                    <a:pt x="2183" y="1816"/>
                  </a:lnTo>
                  <a:lnTo>
                    <a:pt x="2167" y="1800"/>
                  </a:lnTo>
                  <a:lnTo>
                    <a:pt x="2155" y="1796"/>
                  </a:lnTo>
                  <a:lnTo>
                    <a:pt x="2151" y="1796"/>
                  </a:lnTo>
                  <a:lnTo>
                    <a:pt x="2147" y="1796"/>
                  </a:lnTo>
                  <a:lnTo>
                    <a:pt x="2143" y="1800"/>
                  </a:lnTo>
                  <a:lnTo>
                    <a:pt x="2139" y="1800"/>
                  </a:lnTo>
                  <a:lnTo>
                    <a:pt x="2126" y="1820"/>
                  </a:lnTo>
                  <a:lnTo>
                    <a:pt x="2118" y="1840"/>
                  </a:lnTo>
                  <a:lnTo>
                    <a:pt x="2114" y="1852"/>
                  </a:lnTo>
                  <a:lnTo>
                    <a:pt x="2102" y="1864"/>
                  </a:lnTo>
                  <a:lnTo>
                    <a:pt x="2102" y="1896"/>
                  </a:lnTo>
                  <a:lnTo>
                    <a:pt x="2098" y="1929"/>
                  </a:lnTo>
                  <a:lnTo>
                    <a:pt x="2090" y="1949"/>
                  </a:lnTo>
                  <a:lnTo>
                    <a:pt x="2078" y="1961"/>
                  </a:lnTo>
                  <a:lnTo>
                    <a:pt x="2062" y="1965"/>
                  </a:lnTo>
                  <a:lnTo>
                    <a:pt x="2050" y="1973"/>
                  </a:lnTo>
                  <a:lnTo>
                    <a:pt x="2026" y="1977"/>
                  </a:lnTo>
                  <a:lnTo>
                    <a:pt x="2005" y="1981"/>
                  </a:lnTo>
                  <a:lnTo>
                    <a:pt x="1997" y="1985"/>
                  </a:lnTo>
                  <a:lnTo>
                    <a:pt x="1985" y="2001"/>
                  </a:lnTo>
                  <a:lnTo>
                    <a:pt x="1969" y="2005"/>
                  </a:lnTo>
                  <a:lnTo>
                    <a:pt x="1953" y="2013"/>
                  </a:lnTo>
                  <a:lnTo>
                    <a:pt x="1945" y="2013"/>
                  </a:lnTo>
                  <a:lnTo>
                    <a:pt x="1933" y="2017"/>
                  </a:lnTo>
                  <a:lnTo>
                    <a:pt x="1933" y="2021"/>
                  </a:lnTo>
                  <a:lnTo>
                    <a:pt x="1933" y="2025"/>
                  </a:lnTo>
                  <a:lnTo>
                    <a:pt x="1905" y="2042"/>
                  </a:lnTo>
                  <a:lnTo>
                    <a:pt x="1892" y="2046"/>
                  </a:lnTo>
                  <a:lnTo>
                    <a:pt x="1864" y="2062"/>
                  </a:lnTo>
                  <a:lnTo>
                    <a:pt x="1836" y="2082"/>
                  </a:lnTo>
                  <a:lnTo>
                    <a:pt x="1836" y="2090"/>
                  </a:lnTo>
                  <a:lnTo>
                    <a:pt x="1832" y="2098"/>
                  </a:lnTo>
                  <a:lnTo>
                    <a:pt x="1828" y="2098"/>
                  </a:lnTo>
                  <a:lnTo>
                    <a:pt x="1828" y="2102"/>
                  </a:lnTo>
                  <a:lnTo>
                    <a:pt x="1820" y="2098"/>
                  </a:lnTo>
                  <a:lnTo>
                    <a:pt x="1816" y="2102"/>
                  </a:lnTo>
                  <a:lnTo>
                    <a:pt x="1804" y="2102"/>
                  </a:lnTo>
                  <a:lnTo>
                    <a:pt x="1796" y="2110"/>
                  </a:lnTo>
                  <a:lnTo>
                    <a:pt x="1792" y="2114"/>
                  </a:lnTo>
                  <a:lnTo>
                    <a:pt x="1784" y="2114"/>
                  </a:lnTo>
                  <a:lnTo>
                    <a:pt x="1775" y="2118"/>
                  </a:lnTo>
                  <a:lnTo>
                    <a:pt x="1775" y="2122"/>
                  </a:lnTo>
                  <a:lnTo>
                    <a:pt x="1775" y="2130"/>
                  </a:lnTo>
                  <a:lnTo>
                    <a:pt x="1780" y="2134"/>
                  </a:lnTo>
                  <a:lnTo>
                    <a:pt x="1775" y="2138"/>
                  </a:lnTo>
                  <a:lnTo>
                    <a:pt x="1771" y="2142"/>
                  </a:lnTo>
                  <a:lnTo>
                    <a:pt x="1743" y="2155"/>
                  </a:lnTo>
                  <a:lnTo>
                    <a:pt x="1711" y="2171"/>
                  </a:lnTo>
                  <a:lnTo>
                    <a:pt x="1691" y="2195"/>
                  </a:lnTo>
                  <a:lnTo>
                    <a:pt x="1671" y="2215"/>
                  </a:lnTo>
                  <a:lnTo>
                    <a:pt x="1675" y="2219"/>
                  </a:lnTo>
                  <a:lnTo>
                    <a:pt x="1687" y="2227"/>
                  </a:lnTo>
                  <a:lnTo>
                    <a:pt x="1687" y="2231"/>
                  </a:lnTo>
                  <a:lnTo>
                    <a:pt x="1691" y="2243"/>
                  </a:lnTo>
                  <a:lnTo>
                    <a:pt x="1691" y="2255"/>
                  </a:lnTo>
                  <a:lnTo>
                    <a:pt x="1687" y="2264"/>
                  </a:lnTo>
                  <a:lnTo>
                    <a:pt x="1671" y="2264"/>
                  </a:lnTo>
                  <a:lnTo>
                    <a:pt x="1650" y="2264"/>
                  </a:lnTo>
                  <a:lnTo>
                    <a:pt x="1642" y="2264"/>
                  </a:lnTo>
                  <a:lnTo>
                    <a:pt x="1638" y="2259"/>
                  </a:lnTo>
                  <a:lnTo>
                    <a:pt x="1626" y="2247"/>
                  </a:lnTo>
                  <a:lnTo>
                    <a:pt x="1606" y="2231"/>
                  </a:lnTo>
                  <a:lnTo>
                    <a:pt x="1606" y="2207"/>
                  </a:lnTo>
                  <a:lnTo>
                    <a:pt x="1610" y="2191"/>
                  </a:lnTo>
                  <a:lnTo>
                    <a:pt x="1606" y="2191"/>
                  </a:lnTo>
                  <a:lnTo>
                    <a:pt x="1594" y="2191"/>
                  </a:lnTo>
                  <a:lnTo>
                    <a:pt x="1578" y="2199"/>
                  </a:lnTo>
                  <a:lnTo>
                    <a:pt x="1517" y="2223"/>
                  </a:lnTo>
                  <a:lnTo>
                    <a:pt x="1509" y="2227"/>
                  </a:lnTo>
                  <a:lnTo>
                    <a:pt x="1505" y="2231"/>
                  </a:lnTo>
                  <a:lnTo>
                    <a:pt x="1501" y="2243"/>
                  </a:lnTo>
                  <a:lnTo>
                    <a:pt x="1497" y="2255"/>
                  </a:lnTo>
                  <a:lnTo>
                    <a:pt x="1497" y="2296"/>
                  </a:lnTo>
                  <a:lnTo>
                    <a:pt x="1493" y="2340"/>
                  </a:lnTo>
                  <a:lnTo>
                    <a:pt x="1485" y="2356"/>
                  </a:lnTo>
                  <a:lnTo>
                    <a:pt x="1477" y="2376"/>
                  </a:lnTo>
                  <a:lnTo>
                    <a:pt x="1473" y="2393"/>
                  </a:lnTo>
                  <a:lnTo>
                    <a:pt x="1473" y="2405"/>
                  </a:lnTo>
                  <a:lnTo>
                    <a:pt x="1465" y="2417"/>
                  </a:lnTo>
                  <a:lnTo>
                    <a:pt x="1453" y="2429"/>
                  </a:lnTo>
                  <a:lnTo>
                    <a:pt x="1453" y="2453"/>
                  </a:lnTo>
                  <a:lnTo>
                    <a:pt x="1453" y="2473"/>
                  </a:lnTo>
                  <a:lnTo>
                    <a:pt x="1449" y="2477"/>
                  </a:lnTo>
                  <a:lnTo>
                    <a:pt x="1445" y="2485"/>
                  </a:lnTo>
                  <a:lnTo>
                    <a:pt x="1445" y="2498"/>
                  </a:lnTo>
                  <a:lnTo>
                    <a:pt x="1441" y="2510"/>
                  </a:lnTo>
                  <a:lnTo>
                    <a:pt x="1437" y="2518"/>
                  </a:lnTo>
                  <a:lnTo>
                    <a:pt x="1433" y="2526"/>
                  </a:lnTo>
                  <a:lnTo>
                    <a:pt x="1420" y="2538"/>
                  </a:lnTo>
                  <a:lnTo>
                    <a:pt x="1400" y="2554"/>
                  </a:lnTo>
                  <a:lnTo>
                    <a:pt x="1384" y="2554"/>
                  </a:lnTo>
                  <a:lnTo>
                    <a:pt x="1360" y="2558"/>
                  </a:lnTo>
                  <a:lnTo>
                    <a:pt x="1356" y="2530"/>
                  </a:lnTo>
                  <a:lnTo>
                    <a:pt x="1352" y="2526"/>
                  </a:lnTo>
                  <a:lnTo>
                    <a:pt x="1332" y="2522"/>
                  </a:lnTo>
                  <a:lnTo>
                    <a:pt x="1312" y="2518"/>
                  </a:lnTo>
                  <a:lnTo>
                    <a:pt x="1312" y="2522"/>
                  </a:lnTo>
                  <a:lnTo>
                    <a:pt x="1308" y="2522"/>
                  </a:lnTo>
                  <a:lnTo>
                    <a:pt x="1251" y="2526"/>
                  </a:lnTo>
                  <a:lnTo>
                    <a:pt x="1235" y="2530"/>
                  </a:lnTo>
                  <a:lnTo>
                    <a:pt x="1207" y="2530"/>
                  </a:lnTo>
                  <a:lnTo>
                    <a:pt x="1170" y="2526"/>
                  </a:lnTo>
                  <a:lnTo>
                    <a:pt x="1134" y="2542"/>
                  </a:lnTo>
                  <a:lnTo>
                    <a:pt x="1126" y="2546"/>
                  </a:lnTo>
                  <a:lnTo>
                    <a:pt x="1098" y="2550"/>
                  </a:lnTo>
                  <a:lnTo>
                    <a:pt x="1094" y="2554"/>
                  </a:lnTo>
                  <a:lnTo>
                    <a:pt x="1045" y="2550"/>
                  </a:lnTo>
                  <a:lnTo>
                    <a:pt x="1013" y="2546"/>
                  </a:lnTo>
                  <a:lnTo>
                    <a:pt x="948" y="2550"/>
                  </a:lnTo>
                  <a:lnTo>
                    <a:pt x="932" y="2554"/>
                  </a:lnTo>
                  <a:lnTo>
                    <a:pt x="888" y="2554"/>
                  </a:lnTo>
                  <a:lnTo>
                    <a:pt x="864" y="2550"/>
                  </a:lnTo>
                  <a:lnTo>
                    <a:pt x="860" y="2550"/>
                  </a:lnTo>
                  <a:lnTo>
                    <a:pt x="856" y="2546"/>
                  </a:lnTo>
                  <a:lnTo>
                    <a:pt x="852" y="2538"/>
                  </a:lnTo>
                  <a:lnTo>
                    <a:pt x="852" y="2522"/>
                  </a:lnTo>
                  <a:lnTo>
                    <a:pt x="848" y="2526"/>
                  </a:lnTo>
                  <a:lnTo>
                    <a:pt x="840" y="2538"/>
                  </a:lnTo>
                  <a:lnTo>
                    <a:pt x="831" y="2538"/>
                  </a:lnTo>
                  <a:lnTo>
                    <a:pt x="819" y="2538"/>
                  </a:lnTo>
                  <a:lnTo>
                    <a:pt x="807" y="2546"/>
                  </a:lnTo>
                  <a:lnTo>
                    <a:pt x="799" y="2558"/>
                  </a:lnTo>
                  <a:lnTo>
                    <a:pt x="795" y="2586"/>
                  </a:lnTo>
                  <a:lnTo>
                    <a:pt x="787" y="2619"/>
                  </a:lnTo>
                  <a:lnTo>
                    <a:pt x="783" y="2619"/>
                  </a:lnTo>
                  <a:lnTo>
                    <a:pt x="775" y="2623"/>
                  </a:lnTo>
                  <a:lnTo>
                    <a:pt x="775" y="2655"/>
                  </a:lnTo>
                  <a:lnTo>
                    <a:pt x="771" y="2679"/>
                  </a:lnTo>
                  <a:lnTo>
                    <a:pt x="767" y="2683"/>
                  </a:lnTo>
                  <a:lnTo>
                    <a:pt x="759" y="2695"/>
                  </a:lnTo>
                  <a:lnTo>
                    <a:pt x="759" y="2732"/>
                  </a:lnTo>
                  <a:lnTo>
                    <a:pt x="759" y="2772"/>
                  </a:lnTo>
                  <a:lnTo>
                    <a:pt x="755" y="2776"/>
                  </a:lnTo>
                  <a:lnTo>
                    <a:pt x="755" y="2788"/>
                  </a:lnTo>
                  <a:lnTo>
                    <a:pt x="759" y="2808"/>
                  </a:lnTo>
                  <a:lnTo>
                    <a:pt x="775" y="2853"/>
                  </a:lnTo>
                  <a:lnTo>
                    <a:pt x="787" y="2861"/>
                  </a:lnTo>
                  <a:lnTo>
                    <a:pt x="795" y="2873"/>
                  </a:lnTo>
                  <a:lnTo>
                    <a:pt x="799" y="2881"/>
                  </a:lnTo>
                  <a:lnTo>
                    <a:pt x="803" y="2893"/>
                  </a:lnTo>
                  <a:lnTo>
                    <a:pt x="811" y="2897"/>
                  </a:lnTo>
                  <a:lnTo>
                    <a:pt x="823" y="2913"/>
                  </a:lnTo>
                  <a:lnTo>
                    <a:pt x="823" y="2937"/>
                  </a:lnTo>
                  <a:lnTo>
                    <a:pt x="823" y="2953"/>
                  </a:lnTo>
                  <a:lnTo>
                    <a:pt x="836" y="2961"/>
                  </a:lnTo>
                  <a:lnTo>
                    <a:pt x="852" y="2970"/>
                  </a:lnTo>
                  <a:lnTo>
                    <a:pt x="856" y="2970"/>
                  </a:lnTo>
                  <a:lnTo>
                    <a:pt x="856" y="2966"/>
                  </a:lnTo>
                  <a:lnTo>
                    <a:pt x="860" y="2961"/>
                  </a:lnTo>
                  <a:lnTo>
                    <a:pt x="860" y="2953"/>
                  </a:lnTo>
                  <a:lnTo>
                    <a:pt x="872" y="2949"/>
                  </a:lnTo>
                  <a:lnTo>
                    <a:pt x="876" y="2941"/>
                  </a:lnTo>
                  <a:lnTo>
                    <a:pt x="892" y="2941"/>
                  </a:lnTo>
                  <a:lnTo>
                    <a:pt x="908" y="2941"/>
                  </a:lnTo>
                  <a:lnTo>
                    <a:pt x="916" y="2949"/>
                  </a:lnTo>
                  <a:lnTo>
                    <a:pt x="924" y="2953"/>
                  </a:lnTo>
                  <a:lnTo>
                    <a:pt x="928" y="2953"/>
                  </a:lnTo>
                  <a:lnTo>
                    <a:pt x="936" y="2953"/>
                  </a:lnTo>
                  <a:lnTo>
                    <a:pt x="969" y="2953"/>
                  </a:lnTo>
                  <a:lnTo>
                    <a:pt x="997" y="2953"/>
                  </a:lnTo>
                  <a:lnTo>
                    <a:pt x="1005" y="2957"/>
                  </a:lnTo>
                  <a:lnTo>
                    <a:pt x="1013" y="2961"/>
                  </a:lnTo>
                  <a:lnTo>
                    <a:pt x="1013" y="2970"/>
                  </a:lnTo>
                  <a:lnTo>
                    <a:pt x="1025" y="2978"/>
                  </a:lnTo>
                  <a:lnTo>
                    <a:pt x="1029" y="2978"/>
                  </a:lnTo>
                  <a:lnTo>
                    <a:pt x="1033" y="2986"/>
                  </a:lnTo>
                  <a:lnTo>
                    <a:pt x="1033" y="2994"/>
                  </a:lnTo>
                  <a:lnTo>
                    <a:pt x="1033" y="3006"/>
                  </a:lnTo>
                  <a:lnTo>
                    <a:pt x="1029" y="3010"/>
                  </a:lnTo>
                  <a:lnTo>
                    <a:pt x="1029" y="3018"/>
                  </a:lnTo>
                  <a:lnTo>
                    <a:pt x="714" y="3018"/>
                  </a:lnTo>
                  <a:lnTo>
                    <a:pt x="714" y="3429"/>
                  </a:lnTo>
                  <a:lnTo>
                    <a:pt x="93" y="3429"/>
                  </a:lnTo>
                  <a:close/>
                </a:path>
              </a:pathLst>
            </a:custGeom>
            <a:solidFill>
              <a:srgbClr val="00CC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21" name="Freeform 29"/>
            <p:cNvSpPr>
              <a:spLocks/>
            </p:cNvSpPr>
            <p:nvPr/>
          </p:nvSpPr>
          <p:spPr bwMode="auto">
            <a:xfrm>
              <a:off x="1517734" y="4209231"/>
              <a:ext cx="854075" cy="1076604"/>
            </a:xfrm>
            <a:custGeom>
              <a:avLst/>
              <a:gdLst>
                <a:gd name="T0" fmla="*/ 545692107 w 952"/>
                <a:gd name="T1" fmla="*/ 909179395 h 1210"/>
                <a:gd name="T2" fmla="*/ 431402973 w 952"/>
                <a:gd name="T3" fmla="*/ 881099402 h 1210"/>
                <a:gd name="T4" fmla="*/ 324356542 w 952"/>
                <a:gd name="T5" fmla="*/ 865921239 h 1210"/>
                <a:gd name="T6" fmla="*/ 214092022 w 952"/>
                <a:gd name="T7" fmla="*/ 897037213 h 1210"/>
                <a:gd name="T8" fmla="*/ 169019840 w 952"/>
                <a:gd name="T9" fmla="*/ 897037213 h 1210"/>
                <a:gd name="T10" fmla="*/ 126362752 w 952"/>
                <a:gd name="T11" fmla="*/ 853779058 h 1210"/>
                <a:gd name="T12" fmla="*/ 100606808 w 952"/>
                <a:gd name="T13" fmla="*/ 799136627 h 1210"/>
                <a:gd name="T14" fmla="*/ 64388475 w 952"/>
                <a:gd name="T15" fmla="*/ 796101517 h 1210"/>
                <a:gd name="T16" fmla="*/ 41852370 w 952"/>
                <a:gd name="T17" fmla="*/ 841636005 h 1210"/>
                <a:gd name="T18" fmla="*/ 25755027 w 952"/>
                <a:gd name="T19" fmla="*/ 832528933 h 1210"/>
                <a:gd name="T20" fmla="*/ 0 w 952"/>
                <a:gd name="T21" fmla="*/ 789270777 h 1210"/>
                <a:gd name="T22" fmla="*/ 6438757 w 952"/>
                <a:gd name="T23" fmla="*/ 768021524 h 1210"/>
                <a:gd name="T24" fmla="*/ 123142926 w 952"/>
                <a:gd name="T25" fmla="*/ 710343983 h 1210"/>
                <a:gd name="T26" fmla="*/ 145679017 w 952"/>
                <a:gd name="T27" fmla="*/ 682263990 h 1210"/>
                <a:gd name="T28" fmla="*/ 175458595 w 952"/>
                <a:gd name="T29" fmla="*/ 614720599 h 1210"/>
                <a:gd name="T30" fmla="*/ 191555931 w 952"/>
                <a:gd name="T31" fmla="*/ 578293183 h 1210"/>
                <a:gd name="T32" fmla="*/ 276065431 w 952"/>
                <a:gd name="T33" fmla="*/ 532757824 h 1210"/>
                <a:gd name="T34" fmla="*/ 282504186 w 952"/>
                <a:gd name="T35" fmla="*/ 495571630 h 1210"/>
                <a:gd name="T36" fmla="*/ 330796194 w 952"/>
                <a:gd name="T37" fmla="*/ 480392596 h 1210"/>
                <a:gd name="T38" fmla="*/ 383111862 w 952"/>
                <a:gd name="T39" fmla="*/ 468250414 h 1210"/>
                <a:gd name="T40" fmla="*/ 408866882 w 952"/>
                <a:gd name="T41" fmla="*/ 415885078 h 1210"/>
                <a:gd name="T42" fmla="*/ 399208301 w 952"/>
                <a:gd name="T43" fmla="*/ 376421680 h 1210"/>
                <a:gd name="T44" fmla="*/ 346892632 w 952"/>
                <a:gd name="T45" fmla="*/ 348341687 h 1210"/>
                <a:gd name="T46" fmla="*/ 298601522 w 952"/>
                <a:gd name="T47" fmla="*/ 324056453 h 1210"/>
                <a:gd name="T48" fmla="*/ 269626676 w 952"/>
                <a:gd name="T49" fmla="*/ 339234616 h 1210"/>
                <a:gd name="T50" fmla="*/ 243066924 w 952"/>
                <a:gd name="T51" fmla="*/ 385528752 h 1210"/>
                <a:gd name="T52" fmla="*/ 217310951 w 952"/>
                <a:gd name="T53" fmla="*/ 370350590 h 1210"/>
                <a:gd name="T54" fmla="*/ 185117176 w 952"/>
                <a:gd name="T55" fmla="*/ 339234616 h 1210"/>
                <a:gd name="T56" fmla="*/ 197994686 w 952"/>
                <a:gd name="T57" fmla="*/ 281557075 h 1210"/>
                <a:gd name="T58" fmla="*/ 256749166 w 952"/>
                <a:gd name="T59" fmla="*/ 269414893 h 1210"/>
                <a:gd name="T60" fmla="*/ 269626676 w 952"/>
                <a:gd name="T61" fmla="*/ 241334900 h 1210"/>
                <a:gd name="T62" fmla="*/ 305040277 w 952"/>
                <a:gd name="T63" fmla="*/ 210978520 h 1210"/>
                <a:gd name="T64" fmla="*/ 308260103 w 952"/>
                <a:gd name="T65" fmla="*/ 152542201 h 1210"/>
                <a:gd name="T66" fmla="*/ 282504186 w 952"/>
                <a:gd name="T67" fmla="*/ 125220986 h 1210"/>
                <a:gd name="T68" fmla="*/ 279285257 w 952"/>
                <a:gd name="T69" fmla="*/ 88792671 h 1210"/>
                <a:gd name="T70" fmla="*/ 343673703 w 952"/>
                <a:gd name="T71" fmla="*/ 75891712 h 1210"/>
                <a:gd name="T72" fmla="*/ 383111862 w 952"/>
                <a:gd name="T73" fmla="*/ 78926822 h 1210"/>
                <a:gd name="T74" fmla="*/ 431402973 w 952"/>
                <a:gd name="T75" fmla="*/ 66784640 h 1210"/>
                <a:gd name="T76" fmla="*/ 467621306 w 952"/>
                <a:gd name="T77" fmla="*/ 27321222 h 1210"/>
                <a:gd name="T78" fmla="*/ 486937683 w 952"/>
                <a:gd name="T79" fmla="*/ 6071093 h 1210"/>
                <a:gd name="T80" fmla="*/ 552130862 w 952"/>
                <a:gd name="T81" fmla="*/ 9107075 h 1210"/>
                <a:gd name="T82" fmla="*/ 606861624 w 952"/>
                <a:gd name="T83" fmla="*/ 33392320 h 1210"/>
                <a:gd name="T84" fmla="*/ 662396222 w 952"/>
                <a:gd name="T85" fmla="*/ 45534502 h 1210"/>
                <a:gd name="T86" fmla="*/ 723565740 w 952"/>
                <a:gd name="T87" fmla="*/ 57677568 h 1210"/>
                <a:gd name="T88" fmla="*/ 720345914 w 952"/>
                <a:gd name="T89" fmla="*/ 119149895 h 1210"/>
                <a:gd name="T90" fmla="*/ 763003002 w 952"/>
                <a:gd name="T91" fmla="*/ 161648402 h 1210"/>
                <a:gd name="T92" fmla="*/ 746906563 w 952"/>
                <a:gd name="T93" fmla="*/ 183657304 h 1210"/>
                <a:gd name="T94" fmla="*/ 668834977 w 952"/>
                <a:gd name="T95" fmla="*/ 238298919 h 1210"/>
                <a:gd name="T96" fmla="*/ 652738538 w 952"/>
                <a:gd name="T97" fmla="*/ 269414893 h 1210"/>
                <a:gd name="T98" fmla="*/ 639860131 w 952"/>
                <a:gd name="T99" fmla="*/ 397670934 h 1210"/>
                <a:gd name="T100" fmla="*/ 659177293 w 952"/>
                <a:gd name="T101" fmla="*/ 421956169 h 1210"/>
                <a:gd name="T102" fmla="*/ 678493558 w 952"/>
                <a:gd name="T103" fmla="*/ 468250414 h 1210"/>
                <a:gd name="T104" fmla="*/ 691371068 w 952"/>
                <a:gd name="T105" fmla="*/ 495571630 h 1210"/>
                <a:gd name="T106" fmla="*/ 678493558 w 952"/>
                <a:gd name="T107" fmla="*/ 513784902 h 1210"/>
                <a:gd name="T108" fmla="*/ 675273732 w 952"/>
                <a:gd name="T109" fmla="*/ 569186111 h 1210"/>
                <a:gd name="T110" fmla="*/ 629397715 w 952"/>
                <a:gd name="T111" fmla="*/ 639764611 h 1210"/>
                <a:gd name="T112" fmla="*/ 590764289 w 952"/>
                <a:gd name="T113" fmla="*/ 691371061 h 1210"/>
                <a:gd name="T114" fmla="*/ 581105708 w 952"/>
                <a:gd name="T115" fmla="*/ 719451054 h 1210"/>
                <a:gd name="T116" fmla="*/ 581105708 w 952"/>
                <a:gd name="T117" fmla="*/ 805208589 h 1210"/>
                <a:gd name="T118" fmla="*/ 587545360 w 952"/>
                <a:gd name="T119" fmla="*/ 915250704 h 12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2"/>
                <a:gd name="T181" fmla="*/ 0 h 1210"/>
                <a:gd name="T182" fmla="*/ 952 w 952"/>
                <a:gd name="T183" fmla="*/ 1210 h 12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2" h="1210">
                  <a:moveTo>
                    <a:pt x="702" y="1210"/>
                  </a:moveTo>
                  <a:lnTo>
                    <a:pt x="694" y="1206"/>
                  </a:lnTo>
                  <a:lnTo>
                    <a:pt x="686" y="1202"/>
                  </a:lnTo>
                  <a:lnTo>
                    <a:pt x="678" y="1198"/>
                  </a:lnTo>
                  <a:lnTo>
                    <a:pt x="649" y="1186"/>
                  </a:lnTo>
                  <a:lnTo>
                    <a:pt x="617" y="1186"/>
                  </a:lnTo>
                  <a:lnTo>
                    <a:pt x="585" y="1182"/>
                  </a:lnTo>
                  <a:lnTo>
                    <a:pt x="536" y="1161"/>
                  </a:lnTo>
                  <a:lnTo>
                    <a:pt x="464" y="1145"/>
                  </a:lnTo>
                  <a:lnTo>
                    <a:pt x="464" y="1141"/>
                  </a:lnTo>
                  <a:lnTo>
                    <a:pt x="460" y="1141"/>
                  </a:lnTo>
                  <a:lnTo>
                    <a:pt x="403" y="1141"/>
                  </a:lnTo>
                  <a:lnTo>
                    <a:pt x="323" y="1145"/>
                  </a:lnTo>
                  <a:lnTo>
                    <a:pt x="319" y="1145"/>
                  </a:lnTo>
                  <a:lnTo>
                    <a:pt x="302" y="1145"/>
                  </a:lnTo>
                  <a:lnTo>
                    <a:pt x="266" y="1182"/>
                  </a:lnTo>
                  <a:lnTo>
                    <a:pt x="246" y="1194"/>
                  </a:lnTo>
                  <a:lnTo>
                    <a:pt x="234" y="1194"/>
                  </a:lnTo>
                  <a:lnTo>
                    <a:pt x="222" y="1194"/>
                  </a:lnTo>
                  <a:lnTo>
                    <a:pt x="210" y="1182"/>
                  </a:lnTo>
                  <a:lnTo>
                    <a:pt x="202" y="1166"/>
                  </a:lnTo>
                  <a:lnTo>
                    <a:pt x="181" y="1153"/>
                  </a:lnTo>
                  <a:lnTo>
                    <a:pt x="157" y="1129"/>
                  </a:lnTo>
                  <a:lnTo>
                    <a:pt x="157" y="1125"/>
                  </a:lnTo>
                  <a:lnTo>
                    <a:pt x="145" y="1117"/>
                  </a:lnTo>
                  <a:lnTo>
                    <a:pt x="137" y="1109"/>
                  </a:lnTo>
                  <a:lnTo>
                    <a:pt x="129" y="1089"/>
                  </a:lnTo>
                  <a:lnTo>
                    <a:pt x="125" y="1053"/>
                  </a:lnTo>
                  <a:lnTo>
                    <a:pt x="113" y="1044"/>
                  </a:lnTo>
                  <a:lnTo>
                    <a:pt x="97" y="1036"/>
                  </a:lnTo>
                  <a:lnTo>
                    <a:pt x="93" y="1040"/>
                  </a:lnTo>
                  <a:lnTo>
                    <a:pt x="80" y="1049"/>
                  </a:lnTo>
                  <a:lnTo>
                    <a:pt x="76" y="1069"/>
                  </a:lnTo>
                  <a:lnTo>
                    <a:pt x="64" y="1093"/>
                  </a:lnTo>
                  <a:lnTo>
                    <a:pt x="60" y="1097"/>
                  </a:lnTo>
                  <a:lnTo>
                    <a:pt x="52" y="1109"/>
                  </a:lnTo>
                  <a:lnTo>
                    <a:pt x="48" y="1109"/>
                  </a:lnTo>
                  <a:lnTo>
                    <a:pt x="40" y="1109"/>
                  </a:lnTo>
                  <a:lnTo>
                    <a:pt x="36" y="1105"/>
                  </a:lnTo>
                  <a:lnTo>
                    <a:pt x="32" y="1097"/>
                  </a:lnTo>
                  <a:lnTo>
                    <a:pt x="28" y="1081"/>
                  </a:lnTo>
                  <a:lnTo>
                    <a:pt x="20" y="1061"/>
                  </a:lnTo>
                  <a:lnTo>
                    <a:pt x="4" y="1049"/>
                  </a:lnTo>
                  <a:lnTo>
                    <a:pt x="0" y="1040"/>
                  </a:lnTo>
                  <a:lnTo>
                    <a:pt x="0" y="1032"/>
                  </a:lnTo>
                  <a:lnTo>
                    <a:pt x="0" y="1020"/>
                  </a:lnTo>
                  <a:lnTo>
                    <a:pt x="4" y="1016"/>
                  </a:lnTo>
                  <a:lnTo>
                    <a:pt x="8" y="1012"/>
                  </a:lnTo>
                  <a:lnTo>
                    <a:pt x="20" y="1004"/>
                  </a:lnTo>
                  <a:lnTo>
                    <a:pt x="28" y="992"/>
                  </a:lnTo>
                  <a:lnTo>
                    <a:pt x="117" y="952"/>
                  </a:lnTo>
                  <a:lnTo>
                    <a:pt x="153" y="936"/>
                  </a:lnTo>
                  <a:lnTo>
                    <a:pt x="157" y="915"/>
                  </a:lnTo>
                  <a:lnTo>
                    <a:pt x="157" y="899"/>
                  </a:lnTo>
                  <a:lnTo>
                    <a:pt x="173" y="899"/>
                  </a:lnTo>
                  <a:lnTo>
                    <a:pt x="181" y="899"/>
                  </a:lnTo>
                  <a:lnTo>
                    <a:pt x="189" y="895"/>
                  </a:lnTo>
                  <a:lnTo>
                    <a:pt x="193" y="883"/>
                  </a:lnTo>
                  <a:lnTo>
                    <a:pt x="206" y="847"/>
                  </a:lnTo>
                  <a:lnTo>
                    <a:pt x="218" y="810"/>
                  </a:lnTo>
                  <a:lnTo>
                    <a:pt x="226" y="802"/>
                  </a:lnTo>
                  <a:lnTo>
                    <a:pt x="234" y="790"/>
                  </a:lnTo>
                  <a:lnTo>
                    <a:pt x="238" y="774"/>
                  </a:lnTo>
                  <a:lnTo>
                    <a:pt x="238" y="762"/>
                  </a:lnTo>
                  <a:lnTo>
                    <a:pt x="282" y="742"/>
                  </a:lnTo>
                  <a:lnTo>
                    <a:pt x="323" y="714"/>
                  </a:lnTo>
                  <a:lnTo>
                    <a:pt x="335" y="710"/>
                  </a:lnTo>
                  <a:lnTo>
                    <a:pt x="343" y="702"/>
                  </a:lnTo>
                  <a:lnTo>
                    <a:pt x="343" y="681"/>
                  </a:lnTo>
                  <a:lnTo>
                    <a:pt x="347" y="657"/>
                  </a:lnTo>
                  <a:lnTo>
                    <a:pt x="347" y="653"/>
                  </a:lnTo>
                  <a:lnTo>
                    <a:pt x="351" y="653"/>
                  </a:lnTo>
                  <a:lnTo>
                    <a:pt x="371" y="645"/>
                  </a:lnTo>
                  <a:lnTo>
                    <a:pt x="395" y="641"/>
                  </a:lnTo>
                  <a:lnTo>
                    <a:pt x="395" y="637"/>
                  </a:lnTo>
                  <a:lnTo>
                    <a:pt x="411" y="633"/>
                  </a:lnTo>
                  <a:lnTo>
                    <a:pt x="431" y="621"/>
                  </a:lnTo>
                  <a:lnTo>
                    <a:pt x="444" y="621"/>
                  </a:lnTo>
                  <a:lnTo>
                    <a:pt x="460" y="621"/>
                  </a:lnTo>
                  <a:lnTo>
                    <a:pt x="476" y="617"/>
                  </a:lnTo>
                  <a:lnTo>
                    <a:pt x="488" y="605"/>
                  </a:lnTo>
                  <a:lnTo>
                    <a:pt x="496" y="597"/>
                  </a:lnTo>
                  <a:lnTo>
                    <a:pt x="500" y="589"/>
                  </a:lnTo>
                  <a:lnTo>
                    <a:pt x="508" y="548"/>
                  </a:lnTo>
                  <a:lnTo>
                    <a:pt x="508" y="508"/>
                  </a:lnTo>
                  <a:lnTo>
                    <a:pt x="508" y="504"/>
                  </a:lnTo>
                  <a:lnTo>
                    <a:pt x="500" y="500"/>
                  </a:lnTo>
                  <a:lnTo>
                    <a:pt x="496" y="496"/>
                  </a:lnTo>
                  <a:lnTo>
                    <a:pt x="488" y="484"/>
                  </a:lnTo>
                  <a:lnTo>
                    <a:pt x="464" y="484"/>
                  </a:lnTo>
                  <a:lnTo>
                    <a:pt x="431" y="484"/>
                  </a:lnTo>
                  <a:lnTo>
                    <a:pt x="431" y="459"/>
                  </a:lnTo>
                  <a:lnTo>
                    <a:pt x="427" y="439"/>
                  </a:lnTo>
                  <a:lnTo>
                    <a:pt x="395" y="435"/>
                  </a:lnTo>
                  <a:lnTo>
                    <a:pt x="375" y="427"/>
                  </a:lnTo>
                  <a:lnTo>
                    <a:pt x="371" y="427"/>
                  </a:lnTo>
                  <a:lnTo>
                    <a:pt x="359" y="427"/>
                  </a:lnTo>
                  <a:lnTo>
                    <a:pt x="351" y="431"/>
                  </a:lnTo>
                  <a:lnTo>
                    <a:pt x="343" y="435"/>
                  </a:lnTo>
                  <a:lnTo>
                    <a:pt x="335" y="447"/>
                  </a:lnTo>
                  <a:lnTo>
                    <a:pt x="323" y="459"/>
                  </a:lnTo>
                  <a:lnTo>
                    <a:pt x="323" y="496"/>
                  </a:lnTo>
                  <a:lnTo>
                    <a:pt x="323" y="508"/>
                  </a:lnTo>
                  <a:lnTo>
                    <a:pt x="302" y="508"/>
                  </a:lnTo>
                  <a:lnTo>
                    <a:pt x="286" y="504"/>
                  </a:lnTo>
                  <a:lnTo>
                    <a:pt x="282" y="500"/>
                  </a:lnTo>
                  <a:lnTo>
                    <a:pt x="278" y="500"/>
                  </a:lnTo>
                  <a:lnTo>
                    <a:pt x="270" y="488"/>
                  </a:lnTo>
                  <a:lnTo>
                    <a:pt x="270" y="484"/>
                  </a:lnTo>
                  <a:lnTo>
                    <a:pt x="254" y="476"/>
                  </a:lnTo>
                  <a:lnTo>
                    <a:pt x="238" y="464"/>
                  </a:lnTo>
                  <a:lnTo>
                    <a:pt x="230" y="447"/>
                  </a:lnTo>
                  <a:lnTo>
                    <a:pt x="226" y="439"/>
                  </a:lnTo>
                  <a:lnTo>
                    <a:pt x="226" y="419"/>
                  </a:lnTo>
                  <a:lnTo>
                    <a:pt x="230" y="399"/>
                  </a:lnTo>
                  <a:lnTo>
                    <a:pt x="246" y="371"/>
                  </a:lnTo>
                  <a:lnTo>
                    <a:pt x="262" y="363"/>
                  </a:lnTo>
                  <a:lnTo>
                    <a:pt x="278" y="359"/>
                  </a:lnTo>
                  <a:lnTo>
                    <a:pt x="314" y="355"/>
                  </a:lnTo>
                  <a:lnTo>
                    <a:pt x="319" y="355"/>
                  </a:lnTo>
                  <a:lnTo>
                    <a:pt x="319" y="351"/>
                  </a:lnTo>
                  <a:lnTo>
                    <a:pt x="323" y="338"/>
                  </a:lnTo>
                  <a:lnTo>
                    <a:pt x="323" y="326"/>
                  </a:lnTo>
                  <a:lnTo>
                    <a:pt x="335" y="318"/>
                  </a:lnTo>
                  <a:lnTo>
                    <a:pt x="343" y="306"/>
                  </a:lnTo>
                  <a:lnTo>
                    <a:pt x="355" y="302"/>
                  </a:lnTo>
                  <a:lnTo>
                    <a:pt x="375" y="298"/>
                  </a:lnTo>
                  <a:lnTo>
                    <a:pt x="379" y="278"/>
                  </a:lnTo>
                  <a:lnTo>
                    <a:pt x="387" y="254"/>
                  </a:lnTo>
                  <a:lnTo>
                    <a:pt x="387" y="238"/>
                  </a:lnTo>
                  <a:lnTo>
                    <a:pt x="387" y="213"/>
                  </a:lnTo>
                  <a:lnTo>
                    <a:pt x="383" y="201"/>
                  </a:lnTo>
                  <a:lnTo>
                    <a:pt x="379" y="189"/>
                  </a:lnTo>
                  <a:lnTo>
                    <a:pt x="371" y="181"/>
                  </a:lnTo>
                  <a:lnTo>
                    <a:pt x="359" y="169"/>
                  </a:lnTo>
                  <a:lnTo>
                    <a:pt x="351" y="165"/>
                  </a:lnTo>
                  <a:lnTo>
                    <a:pt x="347" y="161"/>
                  </a:lnTo>
                  <a:lnTo>
                    <a:pt x="347" y="145"/>
                  </a:lnTo>
                  <a:lnTo>
                    <a:pt x="347" y="125"/>
                  </a:lnTo>
                  <a:lnTo>
                    <a:pt x="347" y="117"/>
                  </a:lnTo>
                  <a:lnTo>
                    <a:pt x="351" y="113"/>
                  </a:lnTo>
                  <a:lnTo>
                    <a:pt x="367" y="108"/>
                  </a:lnTo>
                  <a:lnTo>
                    <a:pt x="399" y="100"/>
                  </a:lnTo>
                  <a:lnTo>
                    <a:pt x="427" y="100"/>
                  </a:lnTo>
                  <a:lnTo>
                    <a:pt x="456" y="100"/>
                  </a:lnTo>
                  <a:lnTo>
                    <a:pt x="460" y="100"/>
                  </a:lnTo>
                  <a:lnTo>
                    <a:pt x="464" y="104"/>
                  </a:lnTo>
                  <a:lnTo>
                    <a:pt x="476" y="104"/>
                  </a:lnTo>
                  <a:lnTo>
                    <a:pt x="488" y="104"/>
                  </a:lnTo>
                  <a:lnTo>
                    <a:pt x="508" y="100"/>
                  </a:lnTo>
                  <a:lnTo>
                    <a:pt x="520" y="96"/>
                  </a:lnTo>
                  <a:lnTo>
                    <a:pt x="536" y="88"/>
                  </a:lnTo>
                  <a:lnTo>
                    <a:pt x="548" y="72"/>
                  </a:lnTo>
                  <a:lnTo>
                    <a:pt x="561" y="64"/>
                  </a:lnTo>
                  <a:lnTo>
                    <a:pt x="581" y="60"/>
                  </a:lnTo>
                  <a:lnTo>
                    <a:pt x="581" y="36"/>
                  </a:lnTo>
                  <a:lnTo>
                    <a:pt x="589" y="16"/>
                  </a:lnTo>
                  <a:lnTo>
                    <a:pt x="589" y="12"/>
                  </a:lnTo>
                  <a:lnTo>
                    <a:pt x="593" y="8"/>
                  </a:lnTo>
                  <a:lnTo>
                    <a:pt x="605" y="8"/>
                  </a:lnTo>
                  <a:lnTo>
                    <a:pt x="609" y="0"/>
                  </a:lnTo>
                  <a:lnTo>
                    <a:pt x="637" y="8"/>
                  </a:lnTo>
                  <a:lnTo>
                    <a:pt x="665" y="8"/>
                  </a:lnTo>
                  <a:lnTo>
                    <a:pt x="686" y="12"/>
                  </a:lnTo>
                  <a:lnTo>
                    <a:pt x="702" y="16"/>
                  </a:lnTo>
                  <a:lnTo>
                    <a:pt x="722" y="24"/>
                  </a:lnTo>
                  <a:lnTo>
                    <a:pt x="742" y="36"/>
                  </a:lnTo>
                  <a:lnTo>
                    <a:pt x="754" y="44"/>
                  </a:lnTo>
                  <a:lnTo>
                    <a:pt x="766" y="44"/>
                  </a:lnTo>
                  <a:lnTo>
                    <a:pt x="782" y="48"/>
                  </a:lnTo>
                  <a:lnTo>
                    <a:pt x="803" y="60"/>
                  </a:lnTo>
                  <a:lnTo>
                    <a:pt x="823" y="60"/>
                  </a:lnTo>
                  <a:lnTo>
                    <a:pt x="839" y="60"/>
                  </a:lnTo>
                  <a:lnTo>
                    <a:pt x="871" y="68"/>
                  </a:lnTo>
                  <a:lnTo>
                    <a:pt x="895" y="72"/>
                  </a:lnTo>
                  <a:lnTo>
                    <a:pt x="899" y="76"/>
                  </a:lnTo>
                  <a:lnTo>
                    <a:pt x="903" y="100"/>
                  </a:lnTo>
                  <a:lnTo>
                    <a:pt x="903" y="137"/>
                  </a:lnTo>
                  <a:lnTo>
                    <a:pt x="899" y="141"/>
                  </a:lnTo>
                  <a:lnTo>
                    <a:pt x="895" y="157"/>
                  </a:lnTo>
                  <a:lnTo>
                    <a:pt x="895" y="165"/>
                  </a:lnTo>
                  <a:lnTo>
                    <a:pt x="895" y="181"/>
                  </a:lnTo>
                  <a:lnTo>
                    <a:pt x="924" y="193"/>
                  </a:lnTo>
                  <a:lnTo>
                    <a:pt x="948" y="213"/>
                  </a:lnTo>
                  <a:lnTo>
                    <a:pt x="948" y="217"/>
                  </a:lnTo>
                  <a:lnTo>
                    <a:pt x="952" y="217"/>
                  </a:lnTo>
                  <a:lnTo>
                    <a:pt x="936" y="230"/>
                  </a:lnTo>
                  <a:lnTo>
                    <a:pt x="928" y="242"/>
                  </a:lnTo>
                  <a:lnTo>
                    <a:pt x="907" y="242"/>
                  </a:lnTo>
                  <a:lnTo>
                    <a:pt x="891" y="250"/>
                  </a:lnTo>
                  <a:lnTo>
                    <a:pt x="859" y="278"/>
                  </a:lnTo>
                  <a:lnTo>
                    <a:pt x="831" y="314"/>
                  </a:lnTo>
                  <a:lnTo>
                    <a:pt x="827" y="326"/>
                  </a:lnTo>
                  <a:lnTo>
                    <a:pt x="823" y="342"/>
                  </a:lnTo>
                  <a:lnTo>
                    <a:pt x="819" y="347"/>
                  </a:lnTo>
                  <a:lnTo>
                    <a:pt x="811" y="355"/>
                  </a:lnTo>
                  <a:lnTo>
                    <a:pt x="803" y="403"/>
                  </a:lnTo>
                  <a:lnTo>
                    <a:pt x="795" y="455"/>
                  </a:lnTo>
                  <a:lnTo>
                    <a:pt x="795" y="488"/>
                  </a:lnTo>
                  <a:lnTo>
                    <a:pt x="795" y="524"/>
                  </a:lnTo>
                  <a:lnTo>
                    <a:pt x="795" y="536"/>
                  </a:lnTo>
                  <a:lnTo>
                    <a:pt x="803" y="544"/>
                  </a:lnTo>
                  <a:lnTo>
                    <a:pt x="811" y="548"/>
                  </a:lnTo>
                  <a:lnTo>
                    <a:pt x="819" y="556"/>
                  </a:lnTo>
                  <a:lnTo>
                    <a:pt x="823" y="576"/>
                  </a:lnTo>
                  <a:lnTo>
                    <a:pt x="827" y="601"/>
                  </a:lnTo>
                  <a:lnTo>
                    <a:pt x="835" y="609"/>
                  </a:lnTo>
                  <a:lnTo>
                    <a:pt x="843" y="617"/>
                  </a:lnTo>
                  <a:lnTo>
                    <a:pt x="843" y="633"/>
                  </a:lnTo>
                  <a:lnTo>
                    <a:pt x="847" y="645"/>
                  </a:lnTo>
                  <a:lnTo>
                    <a:pt x="855" y="645"/>
                  </a:lnTo>
                  <a:lnTo>
                    <a:pt x="859" y="653"/>
                  </a:lnTo>
                  <a:lnTo>
                    <a:pt x="859" y="665"/>
                  </a:lnTo>
                  <a:lnTo>
                    <a:pt x="847" y="669"/>
                  </a:lnTo>
                  <a:lnTo>
                    <a:pt x="843" y="677"/>
                  </a:lnTo>
                  <a:lnTo>
                    <a:pt x="843" y="710"/>
                  </a:lnTo>
                  <a:lnTo>
                    <a:pt x="847" y="726"/>
                  </a:lnTo>
                  <a:lnTo>
                    <a:pt x="843" y="742"/>
                  </a:lnTo>
                  <a:lnTo>
                    <a:pt x="839" y="750"/>
                  </a:lnTo>
                  <a:lnTo>
                    <a:pt x="827" y="766"/>
                  </a:lnTo>
                  <a:lnTo>
                    <a:pt x="807" y="786"/>
                  </a:lnTo>
                  <a:lnTo>
                    <a:pt x="795" y="810"/>
                  </a:lnTo>
                  <a:lnTo>
                    <a:pt x="782" y="843"/>
                  </a:lnTo>
                  <a:lnTo>
                    <a:pt x="774" y="847"/>
                  </a:lnTo>
                  <a:lnTo>
                    <a:pt x="770" y="851"/>
                  </a:lnTo>
                  <a:lnTo>
                    <a:pt x="750" y="887"/>
                  </a:lnTo>
                  <a:lnTo>
                    <a:pt x="734" y="911"/>
                  </a:lnTo>
                  <a:lnTo>
                    <a:pt x="730" y="919"/>
                  </a:lnTo>
                  <a:lnTo>
                    <a:pt x="730" y="927"/>
                  </a:lnTo>
                  <a:lnTo>
                    <a:pt x="726" y="936"/>
                  </a:lnTo>
                  <a:lnTo>
                    <a:pt x="722" y="948"/>
                  </a:lnTo>
                  <a:lnTo>
                    <a:pt x="714" y="964"/>
                  </a:lnTo>
                  <a:lnTo>
                    <a:pt x="714" y="1004"/>
                  </a:lnTo>
                  <a:lnTo>
                    <a:pt x="714" y="1044"/>
                  </a:lnTo>
                  <a:lnTo>
                    <a:pt x="722" y="1061"/>
                  </a:lnTo>
                  <a:lnTo>
                    <a:pt x="734" y="1077"/>
                  </a:lnTo>
                  <a:lnTo>
                    <a:pt x="734" y="1141"/>
                  </a:lnTo>
                  <a:lnTo>
                    <a:pt x="734" y="1202"/>
                  </a:lnTo>
                  <a:lnTo>
                    <a:pt x="730" y="1206"/>
                  </a:lnTo>
                  <a:lnTo>
                    <a:pt x="722" y="1210"/>
                  </a:lnTo>
                  <a:lnTo>
                    <a:pt x="714" y="1210"/>
                  </a:lnTo>
                  <a:lnTo>
                    <a:pt x="702" y="121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22" name="Freeform 30"/>
            <p:cNvSpPr>
              <a:spLocks/>
            </p:cNvSpPr>
            <p:nvPr/>
          </p:nvSpPr>
          <p:spPr bwMode="auto">
            <a:xfrm>
              <a:off x="4340309" y="4434605"/>
              <a:ext cx="862012" cy="830152"/>
            </a:xfrm>
            <a:custGeom>
              <a:avLst/>
              <a:gdLst>
                <a:gd name="T0" fmla="*/ 201954795 w 961"/>
                <a:gd name="T1" fmla="*/ 677662447 h 932"/>
                <a:gd name="T2" fmla="*/ 178621276 w 961"/>
                <a:gd name="T3" fmla="*/ 641155353 h 932"/>
                <a:gd name="T4" fmla="*/ 152873943 w 961"/>
                <a:gd name="T5" fmla="*/ 600845019 h 932"/>
                <a:gd name="T6" fmla="*/ 107816084 w 961"/>
                <a:gd name="T7" fmla="*/ 521747041 h 932"/>
                <a:gd name="T8" fmla="*/ 111034501 w 961"/>
                <a:gd name="T9" fmla="*/ 496647923 h 932"/>
                <a:gd name="T10" fmla="*/ 136781861 w 961"/>
                <a:gd name="T11" fmla="*/ 469268256 h 932"/>
                <a:gd name="T12" fmla="*/ 143218694 w 961"/>
                <a:gd name="T13" fmla="*/ 429718287 h 932"/>
                <a:gd name="T14" fmla="*/ 127126611 w 961"/>
                <a:gd name="T15" fmla="*/ 407661935 h 932"/>
                <a:gd name="T16" fmla="*/ 146437110 w 961"/>
                <a:gd name="T17" fmla="*/ 383324163 h 932"/>
                <a:gd name="T18" fmla="*/ 178621276 w 961"/>
                <a:gd name="T19" fmla="*/ 395493485 h 932"/>
                <a:gd name="T20" fmla="*/ 194713358 w 961"/>
                <a:gd name="T21" fmla="*/ 416789363 h 932"/>
                <a:gd name="T22" fmla="*/ 221265294 w 961"/>
                <a:gd name="T23" fmla="*/ 380281397 h 932"/>
                <a:gd name="T24" fmla="*/ 191494942 w 961"/>
                <a:gd name="T25" fmla="*/ 324760718 h 932"/>
                <a:gd name="T26" fmla="*/ 136781861 w 961"/>
                <a:gd name="T27" fmla="*/ 303464840 h 932"/>
                <a:gd name="T28" fmla="*/ 81264148 w 961"/>
                <a:gd name="T29" fmla="*/ 279127068 h 932"/>
                <a:gd name="T30" fmla="*/ 61954546 w 961"/>
                <a:gd name="T31" fmla="*/ 220563568 h 932"/>
                <a:gd name="T32" fmla="*/ 3218417 w 961"/>
                <a:gd name="T33" fmla="*/ 214478906 h 932"/>
                <a:gd name="T34" fmla="*/ 10459857 w 961"/>
                <a:gd name="T35" fmla="*/ 196225795 h 932"/>
                <a:gd name="T36" fmla="*/ 36207200 w 961"/>
                <a:gd name="T37" fmla="*/ 146788905 h 932"/>
                <a:gd name="T38" fmla="*/ 20115110 w 961"/>
                <a:gd name="T39" fmla="*/ 98112462 h 932"/>
                <a:gd name="T40" fmla="*/ 20115110 w 961"/>
                <a:gd name="T41" fmla="*/ 63887660 h 932"/>
                <a:gd name="T42" fmla="*/ 52299282 w 961"/>
                <a:gd name="T43" fmla="*/ 42591769 h 932"/>
                <a:gd name="T44" fmla="*/ 68391379 w 961"/>
                <a:gd name="T45" fmla="*/ 27380546 h 932"/>
                <a:gd name="T46" fmla="*/ 140000277 w 961"/>
                <a:gd name="T47" fmla="*/ 24337779 h 932"/>
                <a:gd name="T48" fmla="*/ 214828461 w 961"/>
                <a:gd name="T49" fmla="*/ 0 h 932"/>
                <a:gd name="T50" fmla="*/ 230920544 w 961"/>
                <a:gd name="T51" fmla="*/ 18253118 h 932"/>
                <a:gd name="T52" fmla="*/ 237357433 w 961"/>
                <a:gd name="T53" fmla="*/ 42591769 h 932"/>
                <a:gd name="T54" fmla="*/ 272759118 w 961"/>
                <a:gd name="T55" fmla="*/ 45633663 h 932"/>
                <a:gd name="T56" fmla="*/ 347587302 w 961"/>
                <a:gd name="T57" fmla="*/ 33465213 h 932"/>
                <a:gd name="T58" fmla="*/ 386208300 w 961"/>
                <a:gd name="T59" fmla="*/ 39549002 h 932"/>
                <a:gd name="T60" fmla="*/ 415977756 w 961"/>
                <a:gd name="T61" fmla="*/ 54760219 h 932"/>
                <a:gd name="T62" fmla="*/ 451380337 w 961"/>
                <a:gd name="T63" fmla="*/ 63887660 h 932"/>
                <a:gd name="T64" fmla="*/ 483564615 w 961"/>
                <a:gd name="T65" fmla="*/ 104197123 h 932"/>
                <a:gd name="T66" fmla="*/ 497242885 w 961"/>
                <a:gd name="T67" fmla="*/ 125493028 h 932"/>
                <a:gd name="T68" fmla="*/ 522990217 w 961"/>
                <a:gd name="T69" fmla="*/ 155915461 h 932"/>
                <a:gd name="T70" fmla="*/ 564828735 w 961"/>
                <a:gd name="T71" fmla="*/ 187098368 h 932"/>
                <a:gd name="T72" fmla="*/ 613909586 w 961"/>
                <a:gd name="T73" fmla="*/ 229690178 h 932"/>
                <a:gd name="T74" fmla="*/ 665404251 w 961"/>
                <a:gd name="T75" fmla="*/ 273042407 h 932"/>
                <a:gd name="T76" fmla="*/ 746668371 w 961"/>
                <a:gd name="T77" fmla="*/ 306507606 h 932"/>
                <a:gd name="T78" fmla="*/ 773220307 w 961"/>
                <a:gd name="T79" fmla="*/ 321718823 h 932"/>
                <a:gd name="T80" fmla="*/ 759542037 w 961"/>
                <a:gd name="T81" fmla="*/ 377239502 h 932"/>
                <a:gd name="T82" fmla="*/ 743449954 w 961"/>
                <a:gd name="T83" fmla="*/ 386366058 h 932"/>
                <a:gd name="T84" fmla="*/ 708047372 w 961"/>
                <a:gd name="T85" fmla="*/ 395493485 h 932"/>
                <a:gd name="T86" fmla="*/ 682300937 w 961"/>
                <a:gd name="T87" fmla="*/ 432761053 h 932"/>
                <a:gd name="T88" fmla="*/ 652530585 w 961"/>
                <a:gd name="T89" fmla="*/ 422873152 h 932"/>
                <a:gd name="T90" fmla="*/ 626783252 w 961"/>
                <a:gd name="T91" fmla="*/ 447972270 h 932"/>
                <a:gd name="T92" fmla="*/ 655749001 w 961"/>
                <a:gd name="T93" fmla="*/ 508817245 h 932"/>
                <a:gd name="T94" fmla="*/ 685519354 w 961"/>
                <a:gd name="T95" fmla="*/ 521747041 h 932"/>
                <a:gd name="T96" fmla="*/ 701610539 w 961"/>
                <a:gd name="T97" fmla="*/ 570422585 h 932"/>
                <a:gd name="T98" fmla="*/ 682300937 w 961"/>
                <a:gd name="T99" fmla="*/ 604648259 h 932"/>
                <a:gd name="T100" fmla="*/ 630001669 w 961"/>
                <a:gd name="T101" fmla="*/ 619859475 h 932"/>
                <a:gd name="T102" fmla="*/ 610691170 w 961"/>
                <a:gd name="T103" fmla="*/ 656366570 h 932"/>
                <a:gd name="T104" fmla="*/ 597817504 w 961"/>
                <a:gd name="T105" fmla="*/ 674619681 h 932"/>
                <a:gd name="T106" fmla="*/ 564828735 w 961"/>
                <a:gd name="T107" fmla="*/ 677662447 h 932"/>
                <a:gd name="T108" fmla="*/ 513334967 w 961"/>
                <a:gd name="T109" fmla="*/ 668535892 h 932"/>
                <a:gd name="T110" fmla="*/ 444943504 w 961"/>
                <a:gd name="T111" fmla="*/ 668535892 h 932"/>
                <a:gd name="T112" fmla="*/ 428851422 w 961"/>
                <a:gd name="T113" fmla="*/ 689830897 h 932"/>
                <a:gd name="T114" fmla="*/ 373334634 w 961"/>
                <a:gd name="T115" fmla="*/ 668535892 h 932"/>
                <a:gd name="T116" fmla="*/ 350805718 w 961"/>
                <a:gd name="T117" fmla="*/ 659408464 h 932"/>
                <a:gd name="T118" fmla="*/ 315403137 w 961"/>
                <a:gd name="T119" fmla="*/ 680704342 h 932"/>
                <a:gd name="T120" fmla="*/ 285632784 w 961"/>
                <a:gd name="T121" fmla="*/ 644197248 h 932"/>
                <a:gd name="T122" fmla="*/ 243793369 w 961"/>
                <a:gd name="T123" fmla="*/ 659408464 h 93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61"/>
                <a:gd name="T187" fmla="*/ 0 h 932"/>
                <a:gd name="T188" fmla="*/ 961 w 961"/>
                <a:gd name="T189" fmla="*/ 932 h 93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61" h="932">
                  <a:moveTo>
                    <a:pt x="295" y="932"/>
                  </a:moveTo>
                  <a:lnTo>
                    <a:pt x="279" y="924"/>
                  </a:lnTo>
                  <a:lnTo>
                    <a:pt x="267" y="912"/>
                  </a:lnTo>
                  <a:lnTo>
                    <a:pt x="251" y="891"/>
                  </a:lnTo>
                  <a:lnTo>
                    <a:pt x="242" y="883"/>
                  </a:lnTo>
                  <a:lnTo>
                    <a:pt x="238" y="863"/>
                  </a:lnTo>
                  <a:lnTo>
                    <a:pt x="238" y="847"/>
                  </a:lnTo>
                  <a:lnTo>
                    <a:pt x="222" y="843"/>
                  </a:lnTo>
                  <a:lnTo>
                    <a:pt x="210" y="843"/>
                  </a:lnTo>
                  <a:lnTo>
                    <a:pt x="206" y="835"/>
                  </a:lnTo>
                  <a:lnTo>
                    <a:pt x="198" y="823"/>
                  </a:lnTo>
                  <a:lnTo>
                    <a:pt x="190" y="790"/>
                  </a:lnTo>
                  <a:lnTo>
                    <a:pt x="182" y="726"/>
                  </a:lnTo>
                  <a:lnTo>
                    <a:pt x="162" y="702"/>
                  </a:lnTo>
                  <a:lnTo>
                    <a:pt x="142" y="686"/>
                  </a:lnTo>
                  <a:lnTo>
                    <a:pt x="134" y="686"/>
                  </a:lnTo>
                  <a:lnTo>
                    <a:pt x="125" y="682"/>
                  </a:lnTo>
                  <a:lnTo>
                    <a:pt x="125" y="678"/>
                  </a:lnTo>
                  <a:lnTo>
                    <a:pt x="125" y="665"/>
                  </a:lnTo>
                  <a:lnTo>
                    <a:pt x="138" y="653"/>
                  </a:lnTo>
                  <a:lnTo>
                    <a:pt x="154" y="645"/>
                  </a:lnTo>
                  <a:lnTo>
                    <a:pt x="158" y="637"/>
                  </a:lnTo>
                  <a:lnTo>
                    <a:pt x="158" y="629"/>
                  </a:lnTo>
                  <a:lnTo>
                    <a:pt x="170" y="617"/>
                  </a:lnTo>
                  <a:lnTo>
                    <a:pt x="178" y="613"/>
                  </a:lnTo>
                  <a:lnTo>
                    <a:pt x="182" y="593"/>
                  </a:lnTo>
                  <a:lnTo>
                    <a:pt x="182" y="573"/>
                  </a:lnTo>
                  <a:lnTo>
                    <a:pt x="178" y="565"/>
                  </a:lnTo>
                  <a:lnTo>
                    <a:pt x="178" y="556"/>
                  </a:lnTo>
                  <a:lnTo>
                    <a:pt x="170" y="552"/>
                  </a:lnTo>
                  <a:lnTo>
                    <a:pt x="158" y="544"/>
                  </a:lnTo>
                  <a:lnTo>
                    <a:pt x="158" y="536"/>
                  </a:lnTo>
                  <a:lnTo>
                    <a:pt x="158" y="524"/>
                  </a:lnTo>
                  <a:lnTo>
                    <a:pt x="162" y="516"/>
                  </a:lnTo>
                  <a:lnTo>
                    <a:pt x="174" y="508"/>
                  </a:lnTo>
                  <a:lnTo>
                    <a:pt x="182" y="504"/>
                  </a:lnTo>
                  <a:lnTo>
                    <a:pt x="190" y="500"/>
                  </a:lnTo>
                  <a:lnTo>
                    <a:pt x="198" y="500"/>
                  </a:lnTo>
                  <a:lnTo>
                    <a:pt x="214" y="500"/>
                  </a:lnTo>
                  <a:lnTo>
                    <a:pt x="222" y="520"/>
                  </a:lnTo>
                  <a:lnTo>
                    <a:pt x="222" y="540"/>
                  </a:lnTo>
                  <a:lnTo>
                    <a:pt x="226" y="544"/>
                  </a:lnTo>
                  <a:lnTo>
                    <a:pt x="234" y="548"/>
                  </a:lnTo>
                  <a:lnTo>
                    <a:pt x="242" y="548"/>
                  </a:lnTo>
                  <a:lnTo>
                    <a:pt x="259" y="548"/>
                  </a:lnTo>
                  <a:lnTo>
                    <a:pt x="267" y="536"/>
                  </a:lnTo>
                  <a:lnTo>
                    <a:pt x="275" y="524"/>
                  </a:lnTo>
                  <a:lnTo>
                    <a:pt x="275" y="500"/>
                  </a:lnTo>
                  <a:lnTo>
                    <a:pt x="275" y="472"/>
                  </a:lnTo>
                  <a:lnTo>
                    <a:pt x="267" y="460"/>
                  </a:lnTo>
                  <a:lnTo>
                    <a:pt x="259" y="448"/>
                  </a:lnTo>
                  <a:lnTo>
                    <a:pt x="238" y="427"/>
                  </a:lnTo>
                  <a:lnTo>
                    <a:pt x="222" y="411"/>
                  </a:lnTo>
                  <a:lnTo>
                    <a:pt x="214" y="411"/>
                  </a:lnTo>
                  <a:lnTo>
                    <a:pt x="210" y="403"/>
                  </a:lnTo>
                  <a:lnTo>
                    <a:pt x="170" y="399"/>
                  </a:lnTo>
                  <a:lnTo>
                    <a:pt x="125" y="395"/>
                  </a:lnTo>
                  <a:lnTo>
                    <a:pt x="117" y="387"/>
                  </a:lnTo>
                  <a:lnTo>
                    <a:pt x="105" y="375"/>
                  </a:lnTo>
                  <a:lnTo>
                    <a:pt x="101" y="367"/>
                  </a:lnTo>
                  <a:lnTo>
                    <a:pt x="101" y="359"/>
                  </a:lnTo>
                  <a:lnTo>
                    <a:pt x="97" y="331"/>
                  </a:lnTo>
                  <a:lnTo>
                    <a:pt x="97" y="294"/>
                  </a:lnTo>
                  <a:lnTo>
                    <a:pt x="77" y="290"/>
                  </a:lnTo>
                  <a:lnTo>
                    <a:pt x="65" y="286"/>
                  </a:lnTo>
                  <a:lnTo>
                    <a:pt x="41" y="286"/>
                  </a:lnTo>
                  <a:lnTo>
                    <a:pt x="13" y="286"/>
                  </a:lnTo>
                  <a:lnTo>
                    <a:pt x="4" y="282"/>
                  </a:lnTo>
                  <a:lnTo>
                    <a:pt x="0" y="274"/>
                  </a:lnTo>
                  <a:lnTo>
                    <a:pt x="0" y="270"/>
                  </a:lnTo>
                  <a:lnTo>
                    <a:pt x="0" y="266"/>
                  </a:lnTo>
                  <a:lnTo>
                    <a:pt x="13" y="258"/>
                  </a:lnTo>
                  <a:lnTo>
                    <a:pt x="29" y="254"/>
                  </a:lnTo>
                  <a:lnTo>
                    <a:pt x="33" y="230"/>
                  </a:lnTo>
                  <a:lnTo>
                    <a:pt x="41" y="193"/>
                  </a:lnTo>
                  <a:lnTo>
                    <a:pt x="45" y="193"/>
                  </a:lnTo>
                  <a:lnTo>
                    <a:pt x="45" y="169"/>
                  </a:lnTo>
                  <a:lnTo>
                    <a:pt x="45" y="141"/>
                  </a:lnTo>
                  <a:lnTo>
                    <a:pt x="33" y="137"/>
                  </a:lnTo>
                  <a:lnTo>
                    <a:pt x="25" y="129"/>
                  </a:lnTo>
                  <a:lnTo>
                    <a:pt x="21" y="105"/>
                  </a:lnTo>
                  <a:lnTo>
                    <a:pt x="17" y="93"/>
                  </a:lnTo>
                  <a:lnTo>
                    <a:pt x="21" y="88"/>
                  </a:lnTo>
                  <a:lnTo>
                    <a:pt x="25" y="84"/>
                  </a:lnTo>
                  <a:lnTo>
                    <a:pt x="41" y="80"/>
                  </a:lnTo>
                  <a:lnTo>
                    <a:pt x="53" y="68"/>
                  </a:lnTo>
                  <a:lnTo>
                    <a:pt x="61" y="64"/>
                  </a:lnTo>
                  <a:lnTo>
                    <a:pt x="65" y="56"/>
                  </a:lnTo>
                  <a:lnTo>
                    <a:pt x="69" y="52"/>
                  </a:lnTo>
                  <a:lnTo>
                    <a:pt x="73" y="48"/>
                  </a:lnTo>
                  <a:lnTo>
                    <a:pt x="81" y="44"/>
                  </a:lnTo>
                  <a:lnTo>
                    <a:pt x="85" y="36"/>
                  </a:lnTo>
                  <a:lnTo>
                    <a:pt x="125" y="36"/>
                  </a:lnTo>
                  <a:lnTo>
                    <a:pt x="142" y="32"/>
                  </a:lnTo>
                  <a:lnTo>
                    <a:pt x="158" y="32"/>
                  </a:lnTo>
                  <a:lnTo>
                    <a:pt x="174" y="32"/>
                  </a:lnTo>
                  <a:lnTo>
                    <a:pt x="182" y="16"/>
                  </a:lnTo>
                  <a:lnTo>
                    <a:pt x="190" y="4"/>
                  </a:lnTo>
                  <a:lnTo>
                    <a:pt x="214" y="4"/>
                  </a:lnTo>
                  <a:lnTo>
                    <a:pt x="267" y="0"/>
                  </a:lnTo>
                  <a:lnTo>
                    <a:pt x="267" y="8"/>
                  </a:lnTo>
                  <a:lnTo>
                    <a:pt x="267" y="12"/>
                  </a:lnTo>
                  <a:lnTo>
                    <a:pt x="275" y="16"/>
                  </a:lnTo>
                  <a:lnTo>
                    <a:pt x="287" y="24"/>
                  </a:lnTo>
                  <a:lnTo>
                    <a:pt x="287" y="36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95" y="56"/>
                  </a:lnTo>
                  <a:lnTo>
                    <a:pt x="303" y="60"/>
                  </a:lnTo>
                  <a:lnTo>
                    <a:pt x="311" y="60"/>
                  </a:lnTo>
                  <a:lnTo>
                    <a:pt x="323" y="60"/>
                  </a:lnTo>
                  <a:lnTo>
                    <a:pt x="339" y="60"/>
                  </a:lnTo>
                  <a:lnTo>
                    <a:pt x="347" y="56"/>
                  </a:lnTo>
                  <a:lnTo>
                    <a:pt x="384" y="52"/>
                  </a:lnTo>
                  <a:lnTo>
                    <a:pt x="420" y="48"/>
                  </a:lnTo>
                  <a:lnTo>
                    <a:pt x="432" y="44"/>
                  </a:lnTo>
                  <a:lnTo>
                    <a:pt x="440" y="44"/>
                  </a:lnTo>
                  <a:lnTo>
                    <a:pt x="456" y="44"/>
                  </a:lnTo>
                  <a:lnTo>
                    <a:pt x="464" y="48"/>
                  </a:lnTo>
                  <a:lnTo>
                    <a:pt x="480" y="52"/>
                  </a:lnTo>
                  <a:lnTo>
                    <a:pt x="485" y="56"/>
                  </a:lnTo>
                  <a:lnTo>
                    <a:pt x="493" y="64"/>
                  </a:lnTo>
                  <a:lnTo>
                    <a:pt x="501" y="68"/>
                  </a:lnTo>
                  <a:lnTo>
                    <a:pt x="517" y="72"/>
                  </a:lnTo>
                  <a:lnTo>
                    <a:pt x="533" y="72"/>
                  </a:lnTo>
                  <a:lnTo>
                    <a:pt x="545" y="72"/>
                  </a:lnTo>
                  <a:lnTo>
                    <a:pt x="549" y="80"/>
                  </a:lnTo>
                  <a:lnTo>
                    <a:pt x="561" y="84"/>
                  </a:lnTo>
                  <a:lnTo>
                    <a:pt x="577" y="101"/>
                  </a:lnTo>
                  <a:lnTo>
                    <a:pt x="593" y="117"/>
                  </a:lnTo>
                  <a:lnTo>
                    <a:pt x="597" y="129"/>
                  </a:lnTo>
                  <a:lnTo>
                    <a:pt x="601" y="137"/>
                  </a:lnTo>
                  <a:lnTo>
                    <a:pt x="610" y="141"/>
                  </a:lnTo>
                  <a:lnTo>
                    <a:pt x="618" y="149"/>
                  </a:lnTo>
                  <a:lnTo>
                    <a:pt x="618" y="153"/>
                  </a:lnTo>
                  <a:lnTo>
                    <a:pt x="618" y="165"/>
                  </a:lnTo>
                  <a:lnTo>
                    <a:pt x="626" y="169"/>
                  </a:lnTo>
                  <a:lnTo>
                    <a:pt x="634" y="177"/>
                  </a:lnTo>
                  <a:lnTo>
                    <a:pt x="646" y="193"/>
                  </a:lnTo>
                  <a:lnTo>
                    <a:pt x="650" y="205"/>
                  </a:lnTo>
                  <a:lnTo>
                    <a:pt x="662" y="210"/>
                  </a:lnTo>
                  <a:lnTo>
                    <a:pt x="662" y="222"/>
                  </a:lnTo>
                  <a:lnTo>
                    <a:pt x="686" y="234"/>
                  </a:lnTo>
                  <a:lnTo>
                    <a:pt x="702" y="246"/>
                  </a:lnTo>
                  <a:lnTo>
                    <a:pt x="731" y="262"/>
                  </a:lnTo>
                  <a:lnTo>
                    <a:pt x="747" y="282"/>
                  </a:lnTo>
                  <a:lnTo>
                    <a:pt x="751" y="290"/>
                  </a:lnTo>
                  <a:lnTo>
                    <a:pt x="763" y="302"/>
                  </a:lnTo>
                  <a:lnTo>
                    <a:pt x="783" y="314"/>
                  </a:lnTo>
                  <a:lnTo>
                    <a:pt x="807" y="335"/>
                  </a:lnTo>
                  <a:lnTo>
                    <a:pt x="819" y="347"/>
                  </a:lnTo>
                  <a:lnTo>
                    <a:pt x="827" y="359"/>
                  </a:lnTo>
                  <a:lnTo>
                    <a:pt x="831" y="383"/>
                  </a:lnTo>
                  <a:lnTo>
                    <a:pt x="844" y="403"/>
                  </a:lnTo>
                  <a:lnTo>
                    <a:pt x="884" y="403"/>
                  </a:lnTo>
                  <a:lnTo>
                    <a:pt x="928" y="403"/>
                  </a:lnTo>
                  <a:lnTo>
                    <a:pt x="936" y="411"/>
                  </a:lnTo>
                  <a:lnTo>
                    <a:pt x="948" y="411"/>
                  </a:lnTo>
                  <a:lnTo>
                    <a:pt x="956" y="419"/>
                  </a:lnTo>
                  <a:lnTo>
                    <a:pt x="961" y="423"/>
                  </a:lnTo>
                  <a:lnTo>
                    <a:pt x="961" y="439"/>
                  </a:lnTo>
                  <a:lnTo>
                    <a:pt x="961" y="460"/>
                  </a:lnTo>
                  <a:lnTo>
                    <a:pt x="956" y="476"/>
                  </a:lnTo>
                  <a:lnTo>
                    <a:pt x="944" y="496"/>
                  </a:lnTo>
                  <a:lnTo>
                    <a:pt x="940" y="500"/>
                  </a:lnTo>
                  <a:lnTo>
                    <a:pt x="936" y="504"/>
                  </a:lnTo>
                  <a:lnTo>
                    <a:pt x="932" y="504"/>
                  </a:lnTo>
                  <a:lnTo>
                    <a:pt x="924" y="508"/>
                  </a:lnTo>
                  <a:lnTo>
                    <a:pt x="904" y="508"/>
                  </a:lnTo>
                  <a:lnTo>
                    <a:pt x="880" y="508"/>
                  </a:lnTo>
                  <a:lnTo>
                    <a:pt x="880" y="512"/>
                  </a:lnTo>
                  <a:lnTo>
                    <a:pt x="880" y="520"/>
                  </a:lnTo>
                  <a:lnTo>
                    <a:pt x="876" y="524"/>
                  </a:lnTo>
                  <a:lnTo>
                    <a:pt x="868" y="532"/>
                  </a:lnTo>
                  <a:lnTo>
                    <a:pt x="852" y="561"/>
                  </a:lnTo>
                  <a:lnTo>
                    <a:pt x="848" y="569"/>
                  </a:lnTo>
                  <a:lnTo>
                    <a:pt x="840" y="569"/>
                  </a:lnTo>
                  <a:lnTo>
                    <a:pt x="827" y="569"/>
                  </a:lnTo>
                  <a:lnTo>
                    <a:pt x="819" y="565"/>
                  </a:lnTo>
                  <a:lnTo>
                    <a:pt x="811" y="556"/>
                  </a:lnTo>
                  <a:lnTo>
                    <a:pt x="799" y="561"/>
                  </a:lnTo>
                  <a:lnTo>
                    <a:pt x="783" y="561"/>
                  </a:lnTo>
                  <a:lnTo>
                    <a:pt x="783" y="573"/>
                  </a:lnTo>
                  <a:lnTo>
                    <a:pt x="779" y="589"/>
                  </a:lnTo>
                  <a:lnTo>
                    <a:pt x="783" y="613"/>
                  </a:lnTo>
                  <a:lnTo>
                    <a:pt x="791" y="641"/>
                  </a:lnTo>
                  <a:lnTo>
                    <a:pt x="807" y="665"/>
                  </a:lnTo>
                  <a:lnTo>
                    <a:pt x="815" y="669"/>
                  </a:lnTo>
                  <a:lnTo>
                    <a:pt x="827" y="678"/>
                  </a:lnTo>
                  <a:lnTo>
                    <a:pt x="831" y="682"/>
                  </a:lnTo>
                  <a:lnTo>
                    <a:pt x="844" y="682"/>
                  </a:lnTo>
                  <a:lnTo>
                    <a:pt x="852" y="686"/>
                  </a:lnTo>
                  <a:lnTo>
                    <a:pt x="860" y="686"/>
                  </a:lnTo>
                  <a:lnTo>
                    <a:pt x="860" y="690"/>
                  </a:lnTo>
                  <a:lnTo>
                    <a:pt x="868" y="718"/>
                  </a:lnTo>
                  <a:lnTo>
                    <a:pt x="872" y="750"/>
                  </a:lnTo>
                  <a:lnTo>
                    <a:pt x="872" y="758"/>
                  </a:lnTo>
                  <a:lnTo>
                    <a:pt x="872" y="766"/>
                  </a:lnTo>
                  <a:lnTo>
                    <a:pt x="864" y="778"/>
                  </a:lnTo>
                  <a:lnTo>
                    <a:pt x="848" y="795"/>
                  </a:lnTo>
                  <a:lnTo>
                    <a:pt x="827" y="799"/>
                  </a:lnTo>
                  <a:lnTo>
                    <a:pt x="811" y="803"/>
                  </a:lnTo>
                  <a:lnTo>
                    <a:pt x="807" y="807"/>
                  </a:lnTo>
                  <a:lnTo>
                    <a:pt x="783" y="815"/>
                  </a:lnTo>
                  <a:lnTo>
                    <a:pt x="779" y="831"/>
                  </a:lnTo>
                  <a:lnTo>
                    <a:pt x="767" y="843"/>
                  </a:lnTo>
                  <a:lnTo>
                    <a:pt x="763" y="851"/>
                  </a:lnTo>
                  <a:lnTo>
                    <a:pt x="759" y="863"/>
                  </a:lnTo>
                  <a:lnTo>
                    <a:pt x="751" y="867"/>
                  </a:lnTo>
                  <a:lnTo>
                    <a:pt x="747" y="871"/>
                  </a:lnTo>
                  <a:lnTo>
                    <a:pt x="743" y="879"/>
                  </a:lnTo>
                  <a:lnTo>
                    <a:pt x="743" y="887"/>
                  </a:lnTo>
                  <a:lnTo>
                    <a:pt x="739" y="891"/>
                  </a:lnTo>
                  <a:lnTo>
                    <a:pt x="735" y="891"/>
                  </a:lnTo>
                  <a:lnTo>
                    <a:pt x="714" y="891"/>
                  </a:lnTo>
                  <a:lnTo>
                    <a:pt x="702" y="891"/>
                  </a:lnTo>
                  <a:lnTo>
                    <a:pt x="682" y="883"/>
                  </a:lnTo>
                  <a:lnTo>
                    <a:pt x="666" y="871"/>
                  </a:lnTo>
                  <a:lnTo>
                    <a:pt x="662" y="871"/>
                  </a:lnTo>
                  <a:lnTo>
                    <a:pt x="638" y="879"/>
                  </a:lnTo>
                  <a:lnTo>
                    <a:pt x="626" y="883"/>
                  </a:lnTo>
                  <a:lnTo>
                    <a:pt x="610" y="883"/>
                  </a:lnTo>
                  <a:lnTo>
                    <a:pt x="585" y="879"/>
                  </a:lnTo>
                  <a:lnTo>
                    <a:pt x="553" y="879"/>
                  </a:lnTo>
                  <a:lnTo>
                    <a:pt x="549" y="883"/>
                  </a:lnTo>
                  <a:lnTo>
                    <a:pt x="541" y="891"/>
                  </a:lnTo>
                  <a:lnTo>
                    <a:pt x="537" y="899"/>
                  </a:lnTo>
                  <a:lnTo>
                    <a:pt x="533" y="907"/>
                  </a:lnTo>
                  <a:lnTo>
                    <a:pt x="509" y="907"/>
                  </a:lnTo>
                  <a:lnTo>
                    <a:pt x="485" y="907"/>
                  </a:lnTo>
                  <a:lnTo>
                    <a:pt x="472" y="891"/>
                  </a:lnTo>
                  <a:lnTo>
                    <a:pt x="464" y="879"/>
                  </a:lnTo>
                  <a:lnTo>
                    <a:pt x="456" y="871"/>
                  </a:lnTo>
                  <a:lnTo>
                    <a:pt x="444" y="871"/>
                  </a:lnTo>
                  <a:lnTo>
                    <a:pt x="440" y="867"/>
                  </a:lnTo>
                  <a:lnTo>
                    <a:pt x="436" y="867"/>
                  </a:lnTo>
                  <a:lnTo>
                    <a:pt x="432" y="867"/>
                  </a:lnTo>
                  <a:lnTo>
                    <a:pt x="416" y="883"/>
                  </a:lnTo>
                  <a:lnTo>
                    <a:pt x="400" y="895"/>
                  </a:lnTo>
                  <a:lnTo>
                    <a:pt x="392" y="895"/>
                  </a:lnTo>
                  <a:lnTo>
                    <a:pt x="380" y="871"/>
                  </a:lnTo>
                  <a:lnTo>
                    <a:pt x="372" y="855"/>
                  </a:lnTo>
                  <a:lnTo>
                    <a:pt x="363" y="851"/>
                  </a:lnTo>
                  <a:lnTo>
                    <a:pt x="355" y="847"/>
                  </a:lnTo>
                  <a:lnTo>
                    <a:pt x="339" y="847"/>
                  </a:lnTo>
                  <a:lnTo>
                    <a:pt x="323" y="851"/>
                  </a:lnTo>
                  <a:lnTo>
                    <a:pt x="315" y="859"/>
                  </a:lnTo>
                  <a:lnTo>
                    <a:pt x="303" y="867"/>
                  </a:lnTo>
                  <a:lnTo>
                    <a:pt x="299" y="899"/>
                  </a:lnTo>
                  <a:lnTo>
                    <a:pt x="299" y="932"/>
                  </a:lnTo>
                  <a:lnTo>
                    <a:pt x="295" y="93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23" name="Freeform 31"/>
            <p:cNvSpPr>
              <a:spLocks/>
            </p:cNvSpPr>
            <p:nvPr/>
          </p:nvSpPr>
          <p:spPr bwMode="auto">
            <a:xfrm>
              <a:off x="7129546" y="4189775"/>
              <a:ext cx="1181100" cy="1071740"/>
            </a:xfrm>
            <a:custGeom>
              <a:avLst/>
              <a:gdLst>
                <a:gd name="T0" fmla="*/ 16133917 w 1315"/>
                <a:gd name="T1" fmla="*/ 865848513 h 1203"/>
                <a:gd name="T2" fmla="*/ 0 w 1315"/>
                <a:gd name="T3" fmla="*/ 823240872 h 1203"/>
                <a:gd name="T4" fmla="*/ 16133917 w 1315"/>
                <a:gd name="T5" fmla="*/ 746394122 h 1203"/>
                <a:gd name="T6" fmla="*/ 16133917 w 1315"/>
                <a:gd name="T7" fmla="*/ 666504903 h 1203"/>
                <a:gd name="T8" fmla="*/ 32268732 w 1315"/>
                <a:gd name="T9" fmla="*/ 607919942 h 1203"/>
                <a:gd name="T10" fmla="*/ 61310322 w 1315"/>
                <a:gd name="T11" fmla="*/ 589659026 h 1203"/>
                <a:gd name="T12" fmla="*/ 38722116 w 1315"/>
                <a:gd name="T13" fmla="*/ 509769807 h 1203"/>
                <a:gd name="T14" fmla="*/ 25815341 w 1315"/>
                <a:gd name="T15" fmla="*/ 454228077 h 1203"/>
                <a:gd name="T16" fmla="*/ 64537464 w 1315"/>
                <a:gd name="T17" fmla="*/ 423793798 h 1203"/>
                <a:gd name="T18" fmla="*/ 100839884 w 1315"/>
                <a:gd name="T19" fmla="*/ 399447073 h 1203"/>
                <a:gd name="T20" fmla="*/ 100839884 w 1315"/>
                <a:gd name="T21" fmla="*/ 340861239 h 1203"/>
                <a:gd name="T22" fmla="*/ 78251691 w 1315"/>
                <a:gd name="T23" fmla="*/ 322600323 h 1203"/>
                <a:gd name="T24" fmla="*/ 91159358 w 1315"/>
                <a:gd name="T25" fmla="*/ 286080236 h 1203"/>
                <a:gd name="T26" fmla="*/ 78251691 w 1315"/>
                <a:gd name="T27" fmla="*/ 251841999 h 1203"/>
                <a:gd name="T28" fmla="*/ 84705076 w 1315"/>
                <a:gd name="T29" fmla="*/ 224451006 h 1203"/>
                <a:gd name="T30" fmla="*/ 182318716 w 1315"/>
                <a:gd name="T31" fmla="*/ 206190963 h 1203"/>
                <a:gd name="T32" fmla="*/ 182318716 w 1315"/>
                <a:gd name="T33" fmla="*/ 174996067 h 1203"/>
                <a:gd name="T34" fmla="*/ 152469681 w 1315"/>
                <a:gd name="T35" fmla="*/ 89019268 h 1203"/>
                <a:gd name="T36" fmla="*/ 246856208 w 1315"/>
                <a:gd name="T37" fmla="*/ 55542507 h 1203"/>
                <a:gd name="T38" fmla="*/ 243629067 w 1315"/>
                <a:gd name="T39" fmla="*/ 25108221 h 1203"/>
                <a:gd name="T40" fmla="*/ 283157729 w 1315"/>
                <a:gd name="T41" fmla="*/ 0 h 1203"/>
                <a:gd name="T42" fmla="*/ 334788397 w 1315"/>
                <a:gd name="T43" fmla="*/ 28151562 h 1203"/>
                <a:gd name="T44" fmla="*/ 419493444 w 1315"/>
                <a:gd name="T45" fmla="*/ 61629202 h 1203"/>
                <a:gd name="T46" fmla="*/ 491291835 w 1315"/>
                <a:gd name="T47" fmla="*/ 95105949 h 1203"/>
                <a:gd name="T48" fmla="*/ 579224024 w 1315"/>
                <a:gd name="T49" fmla="*/ 108040801 h 1203"/>
                <a:gd name="T50" fmla="*/ 617946126 w 1315"/>
                <a:gd name="T51" fmla="*/ 132388426 h 1203"/>
                <a:gd name="T52" fmla="*/ 646987703 w 1315"/>
                <a:gd name="T53" fmla="*/ 156735151 h 1203"/>
                <a:gd name="T54" fmla="*/ 686517264 w 1315"/>
                <a:gd name="T55" fmla="*/ 209234303 h 1203"/>
                <a:gd name="T56" fmla="*/ 758314644 w 1315"/>
                <a:gd name="T57" fmla="*/ 239667764 h 1203"/>
                <a:gd name="T58" fmla="*/ 790583362 w 1315"/>
                <a:gd name="T59" fmla="*/ 270102043 h 1203"/>
                <a:gd name="T60" fmla="*/ 868835025 w 1315"/>
                <a:gd name="T61" fmla="*/ 340861239 h 1203"/>
                <a:gd name="T62" fmla="*/ 888196975 w 1315"/>
                <a:gd name="T63" fmla="*/ 375099476 h 1203"/>
                <a:gd name="T64" fmla="*/ 926919077 w 1315"/>
                <a:gd name="T65" fmla="*/ 451184737 h 1203"/>
                <a:gd name="T66" fmla="*/ 969675105 w 1315"/>
                <a:gd name="T67" fmla="*/ 485423082 h 1203"/>
                <a:gd name="T68" fmla="*/ 1038246243 w 1315"/>
                <a:gd name="T69" fmla="*/ 442054715 h 1203"/>
                <a:gd name="T70" fmla="*/ 1060834435 w 1315"/>
                <a:gd name="T71" fmla="*/ 451184737 h 1203"/>
                <a:gd name="T72" fmla="*/ 1031792859 w 1315"/>
                <a:gd name="T73" fmla="*/ 537160745 h 1203"/>
                <a:gd name="T74" fmla="*/ 995490439 w 1315"/>
                <a:gd name="T75" fmla="*/ 586615685 h 1203"/>
                <a:gd name="T76" fmla="*/ 953541196 w 1315"/>
                <a:gd name="T77" fmla="*/ 626179986 h 1203"/>
                <a:gd name="T78" fmla="*/ 926919077 w 1315"/>
                <a:gd name="T79" fmla="*/ 666504903 h 1203"/>
                <a:gd name="T80" fmla="*/ 888196975 w 1315"/>
                <a:gd name="T81" fmla="*/ 666504903 h 1203"/>
                <a:gd name="T82" fmla="*/ 809944413 w 1315"/>
                <a:gd name="T83" fmla="*/ 696939182 h 1203"/>
                <a:gd name="T84" fmla="*/ 702651174 w 1315"/>
                <a:gd name="T85" fmla="*/ 725090737 h 1203"/>
                <a:gd name="T86" fmla="*/ 621173267 w 1315"/>
                <a:gd name="T87" fmla="*/ 764655038 h 1203"/>
                <a:gd name="T88" fmla="*/ 517106271 w 1315"/>
                <a:gd name="T89" fmla="*/ 755525016 h 1203"/>
                <a:gd name="T90" fmla="*/ 478384168 w 1315"/>
                <a:gd name="T91" fmla="*/ 743350781 h 1203"/>
                <a:gd name="T92" fmla="*/ 416266303 w 1315"/>
                <a:gd name="T93" fmla="*/ 755525016 h 1203"/>
                <a:gd name="T94" fmla="*/ 312200204 w 1315"/>
                <a:gd name="T95" fmla="*/ 764655038 h 1203"/>
                <a:gd name="T96" fmla="*/ 270250961 w 1315"/>
                <a:gd name="T97" fmla="*/ 743350781 h 1203"/>
                <a:gd name="T98" fmla="*/ 214587434 w 1315"/>
                <a:gd name="T99" fmla="*/ 782915082 h 1203"/>
                <a:gd name="T100" fmla="*/ 162150206 w 1315"/>
                <a:gd name="T101" fmla="*/ 823240872 h 1203"/>
                <a:gd name="T102" fmla="*/ 139562014 w 1315"/>
                <a:gd name="T103" fmla="*/ 890195238 h 1203"/>
                <a:gd name="T104" fmla="*/ 110520409 w 1315"/>
                <a:gd name="T105" fmla="*/ 915303671 h 120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315"/>
                <a:gd name="T160" fmla="*/ 0 h 1203"/>
                <a:gd name="T161" fmla="*/ 1315 w 1315"/>
                <a:gd name="T162" fmla="*/ 1203 h 120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315" h="1203">
                  <a:moveTo>
                    <a:pt x="60" y="1203"/>
                  </a:moveTo>
                  <a:lnTo>
                    <a:pt x="44" y="1187"/>
                  </a:lnTo>
                  <a:lnTo>
                    <a:pt x="24" y="1174"/>
                  </a:lnTo>
                  <a:lnTo>
                    <a:pt x="24" y="1158"/>
                  </a:lnTo>
                  <a:lnTo>
                    <a:pt x="20" y="1138"/>
                  </a:lnTo>
                  <a:lnTo>
                    <a:pt x="20" y="1130"/>
                  </a:lnTo>
                  <a:lnTo>
                    <a:pt x="16" y="1114"/>
                  </a:lnTo>
                  <a:lnTo>
                    <a:pt x="12" y="1110"/>
                  </a:lnTo>
                  <a:lnTo>
                    <a:pt x="8" y="1094"/>
                  </a:lnTo>
                  <a:lnTo>
                    <a:pt x="0" y="1082"/>
                  </a:lnTo>
                  <a:lnTo>
                    <a:pt x="8" y="1041"/>
                  </a:lnTo>
                  <a:lnTo>
                    <a:pt x="8" y="1001"/>
                  </a:lnTo>
                  <a:lnTo>
                    <a:pt x="12" y="997"/>
                  </a:lnTo>
                  <a:lnTo>
                    <a:pt x="16" y="993"/>
                  </a:lnTo>
                  <a:lnTo>
                    <a:pt x="20" y="981"/>
                  </a:lnTo>
                  <a:lnTo>
                    <a:pt x="20" y="977"/>
                  </a:lnTo>
                  <a:lnTo>
                    <a:pt x="20" y="940"/>
                  </a:lnTo>
                  <a:lnTo>
                    <a:pt x="20" y="912"/>
                  </a:lnTo>
                  <a:lnTo>
                    <a:pt x="20" y="896"/>
                  </a:lnTo>
                  <a:lnTo>
                    <a:pt x="20" y="876"/>
                  </a:lnTo>
                  <a:lnTo>
                    <a:pt x="24" y="860"/>
                  </a:lnTo>
                  <a:lnTo>
                    <a:pt x="28" y="836"/>
                  </a:lnTo>
                  <a:lnTo>
                    <a:pt x="28" y="827"/>
                  </a:lnTo>
                  <a:lnTo>
                    <a:pt x="28" y="811"/>
                  </a:lnTo>
                  <a:lnTo>
                    <a:pt x="40" y="799"/>
                  </a:lnTo>
                  <a:lnTo>
                    <a:pt x="48" y="791"/>
                  </a:lnTo>
                  <a:lnTo>
                    <a:pt x="60" y="791"/>
                  </a:lnTo>
                  <a:lnTo>
                    <a:pt x="68" y="787"/>
                  </a:lnTo>
                  <a:lnTo>
                    <a:pt x="72" y="779"/>
                  </a:lnTo>
                  <a:lnTo>
                    <a:pt x="76" y="775"/>
                  </a:lnTo>
                  <a:lnTo>
                    <a:pt x="88" y="719"/>
                  </a:lnTo>
                  <a:lnTo>
                    <a:pt x="88" y="698"/>
                  </a:lnTo>
                  <a:lnTo>
                    <a:pt x="76" y="686"/>
                  </a:lnTo>
                  <a:lnTo>
                    <a:pt x="52" y="674"/>
                  </a:lnTo>
                  <a:lnTo>
                    <a:pt x="48" y="670"/>
                  </a:lnTo>
                  <a:lnTo>
                    <a:pt x="44" y="666"/>
                  </a:lnTo>
                  <a:lnTo>
                    <a:pt x="40" y="638"/>
                  </a:lnTo>
                  <a:lnTo>
                    <a:pt x="40" y="610"/>
                  </a:lnTo>
                  <a:lnTo>
                    <a:pt x="32" y="610"/>
                  </a:lnTo>
                  <a:lnTo>
                    <a:pt x="32" y="597"/>
                  </a:lnTo>
                  <a:lnTo>
                    <a:pt x="32" y="593"/>
                  </a:lnTo>
                  <a:lnTo>
                    <a:pt x="44" y="585"/>
                  </a:lnTo>
                  <a:lnTo>
                    <a:pt x="60" y="581"/>
                  </a:lnTo>
                  <a:lnTo>
                    <a:pt x="68" y="569"/>
                  </a:lnTo>
                  <a:lnTo>
                    <a:pt x="80" y="557"/>
                  </a:lnTo>
                  <a:lnTo>
                    <a:pt x="97" y="549"/>
                  </a:lnTo>
                  <a:lnTo>
                    <a:pt x="105" y="545"/>
                  </a:lnTo>
                  <a:lnTo>
                    <a:pt x="109" y="541"/>
                  </a:lnTo>
                  <a:lnTo>
                    <a:pt x="113" y="529"/>
                  </a:lnTo>
                  <a:lnTo>
                    <a:pt x="125" y="525"/>
                  </a:lnTo>
                  <a:lnTo>
                    <a:pt x="133" y="517"/>
                  </a:lnTo>
                  <a:lnTo>
                    <a:pt x="133" y="489"/>
                  </a:lnTo>
                  <a:lnTo>
                    <a:pt x="133" y="464"/>
                  </a:lnTo>
                  <a:lnTo>
                    <a:pt x="129" y="456"/>
                  </a:lnTo>
                  <a:lnTo>
                    <a:pt x="125" y="448"/>
                  </a:lnTo>
                  <a:lnTo>
                    <a:pt x="113" y="448"/>
                  </a:lnTo>
                  <a:lnTo>
                    <a:pt x="109" y="444"/>
                  </a:lnTo>
                  <a:lnTo>
                    <a:pt x="109" y="440"/>
                  </a:lnTo>
                  <a:lnTo>
                    <a:pt x="105" y="432"/>
                  </a:lnTo>
                  <a:lnTo>
                    <a:pt x="97" y="424"/>
                  </a:lnTo>
                  <a:lnTo>
                    <a:pt x="80" y="416"/>
                  </a:lnTo>
                  <a:lnTo>
                    <a:pt x="80" y="412"/>
                  </a:lnTo>
                  <a:lnTo>
                    <a:pt x="80" y="404"/>
                  </a:lnTo>
                  <a:lnTo>
                    <a:pt x="101" y="392"/>
                  </a:lnTo>
                  <a:lnTo>
                    <a:pt x="113" y="376"/>
                  </a:lnTo>
                  <a:lnTo>
                    <a:pt x="113" y="363"/>
                  </a:lnTo>
                  <a:lnTo>
                    <a:pt x="113" y="347"/>
                  </a:lnTo>
                  <a:lnTo>
                    <a:pt x="105" y="343"/>
                  </a:lnTo>
                  <a:lnTo>
                    <a:pt x="97" y="343"/>
                  </a:lnTo>
                  <a:lnTo>
                    <a:pt x="97" y="331"/>
                  </a:lnTo>
                  <a:lnTo>
                    <a:pt x="97" y="319"/>
                  </a:lnTo>
                  <a:lnTo>
                    <a:pt x="101" y="315"/>
                  </a:lnTo>
                  <a:lnTo>
                    <a:pt x="105" y="311"/>
                  </a:lnTo>
                  <a:lnTo>
                    <a:pt x="105" y="307"/>
                  </a:lnTo>
                  <a:lnTo>
                    <a:pt x="105" y="295"/>
                  </a:lnTo>
                  <a:lnTo>
                    <a:pt x="113" y="295"/>
                  </a:lnTo>
                  <a:lnTo>
                    <a:pt x="121" y="291"/>
                  </a:lnTo>
                  <a:lnTo>
                    <a:pt x="185" y="279"/>
                  </a:lnTo>
                  <a:lnTo>
                    <a:pt x="218" y="275"/>
                  </a:lnTo>
                  <a:lnTo>
                    <a:pt x="226" y="271"/>
                  </a:lnTo>
                  <a:lnTo>
                    <a:pt x="230" y="263"/>
                  </a:lnTo>
                  <a:lnTo>
                    <a:pt x="230" y="246"/>
                  </a:lnTo>
                  <a:lnTo>
                    <a:pt x="230" y="238"/>
                  </a:lnTo>
                  <a:lnTo>
                    <a:pt x="230" y="234"/>
                  </a:lnTo>
                  <a:lnTo>
                    <a:pt x="226" y="230"/>
                  </a:lnTo>
                  <a:lnTo>
                    <a:pt x="193" y="230"/>
                  </a:lnTo>
                  <a:lnTo>
                    <a:pt x="157" y="226"/>
                  </a:lnTo>
                  <a:lnTo>
                    <a:pt x="161" y="194"/>
                  </a:lnTo>
                  <a:lnTo>
                    <a:pt x="173" y="121"/>
                  </a:lnTo>
                  <a:lnTo>
                    <a:pt x="189" y="117"/>
                  </a:lnTo>
                  <a:lnTo>
                    <a:pt x="218" y="109"/>
                  </a:lnTo>
                  <a:lnTo>
                    <a:pt x="254" y="101"/>
                  </a:lnTo>
                  <a:lnTo>
                    <a:pt x="294" y="89"/>
                  </a:lnTo>
                  <a:lnTo>
                    <a:pt x="302" y="81"/>
                  </a:lnTo>
                  <a:lnTo>
                    <a:pt x="306" y="73"/>
                  </a:lnTo>
                  <a:lnTo>
                    <a:pt x="314" y="61"/>
                  </a:lnTo>
                  <a:lnTo>
                    <a:pt x="314" y="45"/>
                  </a:lnTo>
                  <a:lnTo>
                    <a:pt x="306" y="45"/>
                  </a:lnTo>
                  <a:lnTo>
                    <a:pt x="302" y="41"/>
                  </a:lnTo>
                  <a:lnTo>
                    <a:pt x="302" y="33"/>
                  </a:lnTo>
                  <a:lnTo>
                    <a:pt x="302" y="21"/>
                  </a:lnTo>
                  <a:lnTo>
                    <a:pt x="318" y="12"/>
                  </a:lnTo>
                  <a:lnTo>
                    <a:pt x="326" y="0"/>
                  </a:lnTo>
                  <a:lnTo>
                    <a:pt x="335" y="0"/>
                  </a:lnTo>
                  <a:lnTo>
                    <a:pt x="351" y="0"/>
                  </a:lnTo>
                  <a:lnTo>
                    <a:pt x="367" y="21"/>
                  </a:lnTo>
                  <a:lnTo>
                    <a:pt x="383" y="33"/>
                  </a:lnTo>
                  <a:lnTo>
                    <a:pt x="387" y="37"/>
                  </a:lnTo>
                  <a:lnTo>
                    <a:pt x="395" y="37"/>
                  </a:lnTo>
                  <a:lnTo>
                    <a:pt x="415" y="37"/>
                  </a:lnTo>
                  <a:lnTo>
                    <a:pt x="439" y="37"/>
                  </a:lnTo>
                  <a:lnTo>
                    <a:pt x="464" y="57"/>
                  </a:lnTo>
                  <a:lnTo>
                    <a:pt x="468" y="65"/>
                  </a:lnTo>
                  <a:lnTo>
                    <a:pt x="492" y="73"/>
                  </a:lnTo>
                  <a:lnTo>
                    <a:pt x="520" y="81"/>
                  </a:lnTo>
                  <a:lnTo>
                    <a:pt x="544" y="101"/>
                  </a:lnTo>
                  <a:lnTo>
                    <a:pt x="560" y="113"/>
                  </a:lnTo>
                  <a:lnTo>
                    <a:pt x="581" y="117"/>
                  </a:lnTo>
                  <a:lnTo>
                    <a:pt x="601" y="117"/>
                  </a:lnTo>
                  <a:lnTo>
                    <a:pt x="609" y="125"/>
                  </a:lnTo>
                  <a:lnTo>
                    <a:pt x="625" y="138"/>
                  </a:lnTo>
                  <a:lnTo>
                    <a:pt x="665" y="138"/>
                  </a:lnTo>
                  <a:lnTo>
                    <a:pt x="706" y="138"/>
                  </a:lnTo>
                  <a:lnTo>
                    <a:pt x="714" y="138"/>
                  </a:lnTo>
                  <a:lnTo>
                    <a:pt x="718" y="142"/>
                  </a:lnTo>
                  <a:lnTo>
                    <a:pt x="738" y="150"/>
                  </a:lnTo>
                  <a:lnTo>
                    <a:pt x="754" y="154"/>
                  </a:lnTo>
                  <a:lnTo>
                    <a:pt x="758" y="158"/>
                  </a:lnTo>
                  <a:lnTo>
                    <a:pt x="766" y="162"/>
                  </a:lnTo>
                  <a:lnTo>
                    <a:pt x="766" y="174"/>
                  </a:lnTo>
                  <a:lnTo>
                    <a:pt x="770" y="178"/>
                  </a:lnTo>
                  <a:lnTo>
                    <a:pt x="774" y="186"/>
                  </a:lnTo>
                  <a:lnTo>
                    <a:pt x="778" y="194"/>
                  </a:lnTo>
                  <a:lnTo>
                    <a:pt x="794" y="198"/>
                  </a:lnTo>
                  <a:lnTo>
                    <a:pt x="802" y="206"/>
                  </a:lnTo>
                  <a:lnTo>
                    <a:pt x="807" y="222"/>
                  </a:lnTo>
                  <a:lnTo>
                    <a:pt x="819" y="234"/>
                  </a:lnTo>
                  <a:lnTo>
                    <a:pt x="835" y="259"/>
                  </a:lnTo>
                  <a:lnTo>
                    <a:pt x="847" y="267"/>
                  </a:lnTo>
                  <a:lnTo>
                    <a:pt x="851" y="275"/>
                  </a:lnTo>
                  <a:lnTo>
                    <a:pt x="851" y="279"/>
                  </a:lnTo>
                  <a:lnTo>
                    <a:pt x="863" y="295"/>
                  </a:lnTo>
                  <a:lnTo>
                    <a:pt x="875" y="311"/>
                  </a:lnTo>
                  <a:lnTo>
                    <a:pt x="911" y="315"/>
                  </a:lnTo>
                  <a:lnTo>
                    <a:pt x="940" y="315"/>
                  </a:lnTo>
                  <a:lnTo>
                    <a:pt x="948" y="319"/>
                  </a:lnTo>
                  <a:lnTo>
                    <a:pt x="960" y="323"/>
                  </a:lnTo>
                  <a:lnTo>
                    <a:pt x="968" y="331"/>
                  </a:lnTo>
                  <a:lnTo>
                    <a:pt x="972" y="335"/>
                  </a:lnTo>
                  <a:lnTo>
                    <a:pt x="980" y="355"/>
                  </a:lnTo>
                  <a:lnTo>
                    <a:pt x="992" y="368"/>
                  </a:lnTo>
                  <a:lnTo>
                    <a:pt x="1020" y="392"/>
                  </a:lnTo>
                  <a:lnTo>
                    <a:pt x="1057" y="416"/>
                  </a:lnTo>
                  <a:lnTo>
                    <a:pt x="1065" y="428"/>
                  </a:lnTo>
                  <a:lnTo>
                    <a:pt x="1077" y="448"/>
                  </a:lnTo>
                  <a:lnTo>
                    <a:pt x="1077" y="452"/>
                  </a:lnTo>
                  <a:lnTo>
                    <a:pt x="1081" y="452"/>
                  </a:lnTo>
                  <a:lnTo>
                    <a:pt x="1093" y="468"/>
                  </a:lnTo>
                  <a:lnTo>
                    <a:pt x="1101" y="489"/>
                  </a:lnTo>
                  <a:lnTo>
                    <a:pt x="1101" y="493"/>
                  </a:lnTo>
                  <a:lnTo>
                    <a:pt x="1105" y="505"/>
                  </a:lnTo>
                  <a:lnTo>
                    <a:pt x="1121" y="529"/>
                  </a:lnTo>
                  <a:lnTo>
                    <a:pt x="1141" y="549"/>
                  </a:lnTo>
                  <a:lnTo>
                    <a:pt x="1145" y="573"/>
                  </a:lnTo>
                  <a:lnTo>
                    <a:pt x="1149" y="593"/>
                  </a:lnTo>
                  <a:lnTo>
                    <a:pt x="1166" y="618"/>
                  </a:lnTo>
                  <a:lnTo>
                    <a:pt x="1174" y="630"/>
                  </a:lnTo>
                  <a:lnTo>
                    <a:pt x="1186" y="634"/>
                  </a:lnTo>
                  <a:lnTo>
                    <a:pt x="1194" y="638"/>
                  </a:lnTo>
                  <a:lnTo>
                    <a:pt x="1202" y="638"/>
                  </a:lnTo>
                  <a:lnTo>
                    <a:pt x="1214" y="638"/>
                  </a:lnTo>
                  <a:lnTo>
                    <a:pt x="1218" y="630"/>
                  </a:lnTo>
                  <a:lnTo>
                    <a:pt x="1226" y="622"/>
                  </a:lnTo>
                  <a:lnTo>
                    <a:pt x="1258" y="606"/>
                  </a:lnTo>
                  <a:lnTo>
                    <a:pt x="1287" y="581"/>
                  </a:lnTo>
                  <a:lnTo>
                    <a:pt x="1295" y="581"/>
                  </a:lnTo>
                  <a:lnTo>
                    <a:pt x="1307" y="581"/>
                  </a:lnTo>
                  <a:lnTo>
                    <a:pt x="1311" y="581"/>
                  </a:lnTo>
                  <a:lnTo>
                    <a:pt x="1315" y="585"/>
                  </a:lnTo>
                  <a:lnTo>
                    <a:pt x="1315" y="593"/>
                  </a:lnTo>
                  <a:lnTo>
                    <a:pt x="1315" y="606"/>
                  </a:lnTo>
                  <a:lnTo>
                    <a:pt x="1295" y="622"/>
                  </a:lnTo>
                  <a:lnTo>
                    <a:pt x="1287" y="630"/>
                  </a:lnTo>
                  <a:lnTo>
                    <a:pt x="1287" y="666"/>
                  </a:lnTo>
                  <a:lnTo>
                    <a:pt x="1279" y="706"/>
                  </a:lnTo>
                  <a:lnTo>
                    <a:pt x="1262" y="719"/>
                  </a:lnTo>
                  <a:lnTo>
                    <a:pt x="1258" y="727"/>
                  </a:lnTo>
                  <a:lnTo>
                    <a:pt x="1250" y="743"/>
                  </a:lnTo>
                  <a:lnTo>
                    <a:pt x="1246" y="755"/>
                  </a:lnTo>
                  <a:lnTo>
                    <a:pt x="1234" y="771"/>
                  </a:lnTo>
                  <a:lnTo>
                    <a:pt x="1218" y="779"/>
                  </a:lnTo>
                  <a:lnTo>
                    <a:pt x="1202" y="799"/>
                  </a:lnTo>
                  <a:lnTo>
                    <a:pt x="1190" y="823"/>
                  </a:lnTo>
                  <a:lnTo>
                    <a:pt x="1186" y="823"/>
                  </a:lnTo>
                  <a:lnTo>
                    <a:pt x="1182" y="823"/>
                  </a:lnTo>
                  <a:lnTo>
                    <a:pt x="1186" y="823"/>
                  </a:lnTo>
                  <a:lnTo>
                    <a:pt x="1186" y="827"/>
                  </a:lnTo>
                  <a:lnTo>
                    <a:pt x="1170" y="848"/>
                  </a:lnTo>
                  <a:lnTo>
                    <a:pt x="1166" y="868"/>
                  </a:lnTo>
                  <a:lnTo>
                    <a:pt x="1149" y="876"/>
                  </a:lnTo>
                  <a:lnTo>
                    <a:pt x="1137" y="884"/>
                  </a:lnTo>
                  <a:lnTo>
                    <a:pt x="1129" y="884"/>
                  </a:lnTo>
                  <a:lnTo>
                    <a:pt x="1117" y="884"/>
                  </a:lnTo>
                  <a:lnTo>
                    <a:pt x="1109" y="880"/>
                  </a:lnTo>
                  <a:lnTo>
                    <a:pt x="1101" y="876"/>
                  </a:lnTo>
                  <a:lnTo>
                    <a:pt x="1077" y="876"/>
                  </a:lnTo>
                  <a:lnTo>
                    <a:pt x="1049" y="872"/>
                  </a:lnTo>
                  <a:lnTo>
                    <a:pt x="1028" y="904"/>
                  </a:lnTo>
                  <a:lnTo>
                    <a:pt x="1020" y="912"/>
                  </a:lnTo>
                  <a:lnTo>
                    <a:pt x="1004" y="916"/>
                  </a:lnTo>
                  <a:lnTo>
                    <a:pt x="992" y="924"/>
                  </a:lnTo>
                  <a:lnTo>
                    <a:pt x="964" y="928"/>
                  </a:lnTo>
                  <a:lnTo>
                    <a:pt x="940" y="932"/>
                  </a:lnTo>
                  <a:lnTo>
                    <a:pt x="915" y="936"/>
                  </a:lnTo>
                  <a:lnTo>
                    <a:pt x="871" y="953"/>
                  </a:lnTo>
                  <a:lnTo>
                    <a:pt x="859" y="965"/>
                  </a:lnTo>
                  <a:lnTo>
                    <a:pt x="851" y="981"/>
                  </a:lnTo>
                  <a:lnTo>
                    <a:pt x="835" y="993"/>
                  </a:lnTo>
                  <a:lnTo>
                    <a:pt x="823" y="1001"/>
                  </a:lnTo>
                  <a:lnTo>
                    <a:pt x="770" y="1005"/>
                  </a:lnTo>
                  <a:lnTo>
                    <a:pt x="726" y="1005"/>
                  </a:lnTo>
                  <a:lnTo>
                    <a:pt x="706" y="1001"/>
                  </a:lnTo>
                  <a:lnTo>
                    <a:pt x="677" y="993"/>
                  </a:lnTo>
                  <a:lnTo>
                    <a:pt x="661" y="993"/>
                  </a:lnTo>
                  <a:lnTo>
                    <a:pt x="641" y="993"/>
                  </a:lnTo>
                  <a:lnTo>
                    <a:pt x="629" y="993"/>
                  </a:lnTo>
                  <a:lnTo>
                    <a:pt x="625" y="989"/>
                  </a:lnTo>
                  <a:lnTo>
                    <a:pt x="625" y="981"/>
                  </a:lnTo>
                  <a:lnTo>
                    <a:pt x="617" y="977"/>
                  </a:lnTo>
                  <a:lnTo>
                    <a:pt x="593" y="977"/>
                  </a:lnTo>
                  <a:lnTo>
                    <a:pt x="560" y="977"/>
                  </a:lnTo>
                  <a:lnTo>
                    <a:pt x="552" y="989"/>
                  </a:lnTo>
                  <a:lnTo>
                    <a:pt x="544" y="993"/>
                  </a:lnTo>
                  <a:lnTo>
                    <a:pt x="528" y="993"/>
                  </a:lnTo>
                  <a:lnTo>
                    <a:pt x="516" y="993"/>
                  </a:lnTo>
                  <a:lnTo>
                    <a:pt x="476" y="1005"/>
                  </a:lnTo>
                  <a:lnTo>
                    <a:pt x="439" y="1013"/>
                  </a:lnTo>
                  <a:lnTo>
                    <a:pt x="423" y="1013"/>
                  </a:lnTo>
                  <a:lnTo>
                    <a:pt x="407" y="1013"/>
                  </a:lnTo>
                  <a:lnTo>
                    <a:pt x="387" y="1005"/>
                  </a:lnTo>
                  <a:lnTo>
                    <a:pt x="367" y="1001"/>
                  </a:lnTo>
                  <a:lnTo>
                    <a:pt x="359" y="993"/>
                  </a:lnTo>
                  <a:lnTo>
                    <a:pt x="355" y="977"/>
                  </a:lnTo>
                  <a:lnTo>
                    <a:pt x="347" y="977"/>
                  </a:lnTo>
                  <a:lnTo>
                    <a:pt x="335" y="977"/>
                  </a:lnTo>
                  <a:lnTo>
                    <a:pt x="326" y="981"/>
                  </a:lnTo>
                  <a:lnTo>
                    <a:pt x="314" y="989"/>
                  </a:lnTo>
                  <a:lnTo>
                    <a:pt x="294" y="997"/>
                  </a:lnTo>
                  <a:lnTo>
                    <a:pt x="274" y="1013"/>
                  </a:lnTo>
                  <a:lnTo>
                    <a:pt x="266" y="1029"/>
                  </a:lnTo>
                  <a:lnTo>
                    <a:pt x="258" y="1053"/>
                  </a:lnTo>
                  <a:lnTo>
                    <a:pt x="246" y="1061"/>
                  </a:lnTo>
                  <a:lnTo>
                    <a:pt x="222" y="1065"/>
                  </a:lnTo>
                  <a:lnTo>
                    <a:pt x="214" y="1074"/>
                  </a:lnTo>
                  <a:lnTo>
                    <a:pt x="201" y="1082"/>
                  </a:lnTo>
                  <a:lnTo>
                    <a:pt x="201" y="1102"/>
                  </a:lnTo>
                  <a:lnTo>
                    <a:pt x="201" y="1130"/>
                  </a:lnTo>
                  <a:lnTo>
                    <a:pt x="189" y="1142"/>
                  </a:lnTo>
                  <a:lnTo>
                    <a:pt x="173" y="1154"/>
                  </a:lnTo>
                  <a:lnTo>
                    <a:pt x="173" y="1170"/>
                  </a:lnTo>
                  <a:lnTo>
                    <a:pt x="165" y="1187"/>
                  </a:lnTo>
                  <a:lnTo>
                    <a:pt x="165" y="1191"/>
                  </a:lnTo>
                  <a:lnTo>
                    <a:pt x="161" y="1191"/>
                  </a:lnTo>
                  <a:lnTo>
                    <a:pt x="153" y="1195"/>
                  </a:lnTo>
                  <a:lnTo>
                    <a:pt x="137" y="1203"/>
                  </a:lnTo>
                  <a:lnTo>
                    <a:pt x="101" y="1203"/>
                  </a:lnTo>
                  <a:lnTo>
                    <a:pt x="60" y="1203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24" name="Freeform 32"/>
            <p:cNvSpPr>
              <a:spLocks/>
            </p:cNvSpPr>
            <p:nvPr/>
          </p:nvSpPr>
          <p:spPr bwMode="auto">
            <a:xfrm>
              <a:off x="5484896" y="4180046"/>
              <a:ext cx="1749425" cy="977699"/>
            </a:xfrm>
            <a:custGeom>
              <a:avLst/>
              <a:gdLst>
                <a:gd name="T0" fmla="*/ 910428053 w 1949"/>
                <a:gd name="T1" fmla="*/ 742595352 h 1098"/>
                <a:gd name="T2" fmla="*/ 874172149 w 1949"/>
                <a:gd name="T3" fmla="*/ 745635402 h 1098"/>
                <a:gd name="T4" fmla="*/ 812939597 w 1949"/>
                <a:gd name="T5" fmla="*/ 714472931 h 1098"/>
                <a:gd name="T6" fmla="*/ 721896814 w 1949"/>
                <a:gd name="T7" fmla="*/ 717512980 h 1098"/>
                <a:gd name="T8" fmla="*/ 682417624 w 1949"/>
                <a:gd name="T9" fmla="*/ 684069818 h 1098"/>
                <a:gd name="T10" fmla="*/ 611517010 w 1949"/>
                <a:gd name="T11" fmla="*/ 610342291 h 1098"/>
                <a:gd name="T12" fmla="*/ 490663997 w 1949"/>
                <a:gd name="T13" fmla="*/ 610342291 h 1098"/>
                <a:gd name="T14" fmla="*/ 360947958 w 1949"/>
                <a:gd name="T15" fmla="*/ 601221270 h 1098"/>
                <a:gd name="T16" fmla="*/ 286019808 w 1949"/>
                <a:gd name="T17" fmla="*/ 567778108 h 1098"/>
                <a:gd name="T18" fmla="*/ 207867419 w 1949"/>
                <a:gd name="T19" fmla="*/ 576899129 h 1098"/>
                <a:gd name="T20" fmla="*/ 156303825 w 1949"/>
                <a:gd name="T21" fmla="*/ 539654815 h 1098"/>
                <a:gd name="T22" fmla="*/ 133744417 w 1949"/>
                <a:gd name="T23" fmla="*/ 497090631 h 1098"/>
                <a:gd name="T24" fmla="*/ 107156546 w 1949"/>
                <a:gd name="T25" fmla="*/ 364837461 h 1098"/>
                <a:gd name="T26" fmla="*/ 39478306 w 1949"/>
                <a:gd name="T27" fmla="*/ 300990315 h 1098"/>
                <a:gd name="T28" fmla="*/ 3222389 w 1949"/>
                <a:gd name="T29" fmla="*/ 245504830 h 1098"/>
                <a:gd name="T30" fmla="*/ 16113742 w 1949"/>
                <a:gd name="T31" fmla="*/ 186979241 h 1098"/>
                <a:gd name="T32" fmla="*/ 78151464 w 1949"/>
                <a:gd name="T33" fmla="*/ 159616178 h 1098"/>
                <a:gd name="T34" fmla="*/ 55592939 w 1949"/>
                <a:gd name="T35" fmla="*/ 88928674 h 1098"/>
                <a:gd name="T36" fmla="*/ 68483402 w 1949"/>
                <a:gd name="T37" fmla="*/ 0 h 1098"/>
                <a:gd name="T38" fmla="*/ 103934158 w 1949"/>
                <a:gd name="T39" fmla="*/ 31163357 h 1098"/>
                <a:gd name="T40" fmla="*/ 81374749 w 1949"/>
                <a:gd name="T41" fmla="*/ 67646582 h 1098"/>
                <a:gd name="T42" fmla="*/ 116824608 w 1949"/>
                <a:gd name="T43" fmla="*/ 120092045 h 1098"/>
                <a:gd name="T44" fmla="*/ 172417560 w 1949"/>
                <a:gd name="T45" fmla="*/ 132253115 h 1098"/>
                <a:gd name="T46" fmla="*/ 315830038 w 1949"/>
                <a:gd name="T47" fmla="*/ 132253115 h 1098"/>
                <a:gd name="T48" fmla="*/ 348057509 w 1949"/>
                <a:gd name="T49" fmla="*/ 165697150 h 1098"/>
                <a:gd name="T50" fmla="*/ 380284979 w 1949"/>
                <a:gd name="T51" fmla="*/ 212061613 h 1098"/>
                <a:gd name="T52" fmla="*/ 429432230 w 1949"/>
                <a:gd name="T53" fmla="*/ 236383809 h 1098"/>
                <a:gd name="T54" fmla="*/ 474550262 w 1949"/>
                <a:gd name="T55" fmla="*/ 212061613 h 1098"/>
                <a:gd name="T56" fmla="*/ 523697513 w 1949"/>
                <a:gd name="T57" fmla="*/ 177858220 h 1098"/>
                <a:gd name="T58" fmla="*/ 533365575 w 1949"/>
                <a:gd name="T59" fmla="*/ 224222684 h 1098"/>
                <a:gd name="T60" fmla="*/ 640522093 w 1949"/>
                <a:gd name="T61" fmla="*/ 218142584 h 1098"/>
                <a:gd name="T62" fmla="*/ 679195236 w 1949"/>
                <a:gd name="T63" fmla="*/ 218142584 h 1098"/>
                <a:gd name="T64" fmla="*/ 741232937 w 1949"/>
                <a:gd name="T65" fmla="*/ 224222684 h 1098"/>
                <a:gd name="T66" fmla="*/ 800048250 w 1949"/>
                <a:gd name="T67" fmla="*/ 190019291 h 1098"/>
                <a:gd name="T68" fmla="*/ 835499006 w 1949"/>
                <a:gd name="T69" fmla="*/ 153535207 h 1098"/>
                <a:gd name="T70" fmla="*/ 880616925 w 1949"/>
                <a:gd name="T71" fmla="*/ 171777249 h 1098"/>
                <a:gd name="T72" fmla="*/ 961991871 w 1949"/>
                <a:gd name="T73" fmla="*/ 215101663 h 1098"/>
                <a:gd name="T74" fmla="*/ 1011139122 w 1949"/>
                <a:gd name="T75" fmla="*/ 215101663 h 1098"/>
                <a:gd name="T76" fmla="*/ 1075594063 w 1949"/>
                <a:gd name="T77" fmla="*/ 168737199 h 1098"/>
                <a:gd name="T78" fmla="*/ 1166636846 w 1949"/>
                <a:gd name="T79" fmla="*/ 132253115 h 1098"/>
                <a:gd name="T80" fmla="*/ 1254456343 w 1949"/>
                <a:gd name="T81" fmla="*/ 168737199 h 1098"/>
                <a:gd name="T82" fmla="*/ 1351944799 w 1949"/>
                <a:gd name="T83" fmla="*/ 180898270 h 1098"/>
                <a:gd name="T84" fmla="*/ 1391423989 w 1949"/>
                <a:gd name="T85" fmla="*/ 212061613 h 1098"/>
                <a:gd name="T86" fmla="*/ 1439765194 w 1949"/>
                <a:gd name="T87" fmla="*/ 251585801 h 1098"/>
                <a:gd name="T88" fmla="*/ 1492134833 w 1949"/>
                <a:gd name="T89" fmla="*/ 291869294 h 1098"/>
                <a:gd name="T90" fmla="*/ 1546921712 w 1949"/>
                <a:gd name="T91" fmla="*/ 346595419 h 1098"/>
                <a:gd name="T92" fmla="*/ 1560618208 w 1949"/>
                <a:gd name="T93" fmla="*/ 395999933 h 1098"/>
                <a:gd name="T94" fmla="*/ 1492134833 w 1949"/>
                <a:gd name="T95" fmla="*/ 518372723 h 1098"/>
                <a:gd name="T96" fmla="*/ 1530807977 w 1949"/>
                <a:gd name="T97" fmla="*/ 545735786 h 1098"/>
                <a:gd name="T98" fmla="*/ 1521139018 w 1949"/>
                <a:gd name="T99" fmla="*/ 598181221 h 1098"/>
                <a:gd name="T100" fmla="*/ 1472797813 w 1949"/>
                <a:gd name="T101" fmla="*/ 668867826 h 1098"/>
                <a:gd name="T102" fmla="*/ 1426873847 w 1949"/>
                <a:gd name="T103" fmla="*/ 631624383 h 1098"/>
                <a:gd name="T104" fmla="*/ 1335831064 w 1949"/>
                <a:gd name="T105" fmla="*/ 668867826 h 1098"/>
                <a:gd name="T106" fmla="*/ 1310049268 w 1949"/>
                <a:gd name="T107" fmla="*/ 708391959 h 1098"/>
                <a:gd name="T108" fmla="*/ 1260902016 w 1949"/>
                <a:gd name="T109" fmla="*/ 736515253 h 1098"/>
                <a:gd name="T110" fmla="*/ 1231897832 w 1949"/>
                <a:gd name="T111" fmla="*/ 785159536 h 1098"/>
                <a:gd name="T112" fmla="*/ 1177110953 w 1949"/>
                <a:gd name="T113" fmla="*/ 779079436 h 1098"/>
                <a:gd name="T114" fmla="*/ 1121518028 w 1949"/>
                <a:gd name="T115" fmla="*/ 742595352 h 1098"/>
                <a:gd name="T116" fmla="*/ 1059480328 w 1949"/>
                <a:gd name="T117" fmla="*/ 754756423 h 1098"/>
                <a:gd name="T118" fmla="*/ 1049812266 w 1949"/>
                <a:gd name="T119" fmla="*/ 788200457 h 1098"/>
                <a:gd name="T120" fmla="*/ 982134040 w 1949"/>
                <a:gd name="T121" fmla="*/ 822403850 h 10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949"/>
                <a:gd name="T184" fmla="*/ 0 h 1098"/>
                <a:gd name="T185" fmla="*/ 1949 w 1949"/>
                <a:gd name="T186" fmla="*/ 1098 h 10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949" h="1098">
                  <a:moveTo>
                    <a:pt x="1174" y="1098"/>
                  </a:moveTo>
                  <a:lnTo>
                    <a:pt x="1170" y="1094"/>
                  </a:lnTo>
                  <a:lnTo>
                    <a:pt x="1166" y="1057"/>
                  </a:lnTo>
                  <a:lnTo>
                    <a:pt x="1154" y="1029"/>
                  </a:lnTo>
                  <a:lnTo>
                    <a:pt x="1138" y="989"/>
                  </a:lnTo>
                  <a:lnTo>
                    <a:pt x="1130" y="977"/>
                  </a:lnTo>
                  <a:lnTo>
                    <a:pt x="1118" y="969"/>
                  </a:lnTo>
                  <a:lnTo>
                    <a:pt x="1110" y="969"/>
                  </a:lnTo>
                  <a:lnTo>
                    <a:pt x="1097" y="977"/>
                  </a:lnTo>
                  <a:lnTo>
                    <a:pt x="1093" y="977"/>
                  </a:lnTo>
                  <a:lnTo>
                    <a:pt x="1089" y="981"/>
                  </a:lnTo>
                  <a:lnTo>
                    <a:pt x="1085" y="981"/>
                  </a:lnTo>
                  <a:lnTo>
                    <a:pt x="1081" y="981"/>
                  </a:lnTo>
                  <a:lnTo>
                    <a:pt x="1069" y="965"/>
                  </a:lnTo>
                  <a:lnTo>
                    <a:pt x="1061" y="952"/>
                  </a:lnTo>
                  <a:lnTo>
                    <a:pt x="1053" y="944"/>
                  </a:lnTo>
                  <a:lnTo>
                    <a:pt x="1041" y="940"/>
                  </a:lnTo>
                  <a:lnTo>
                    <a:pt x="1009" y="940"/>
                  </a:lnTo>
                  <a:lnTo>
                    <a:pt x="993" y="932"/>
                  </a:lnTo>
                  <a:lnTo>
                    <a:pt x="964" y="932"/>
                  </a:lnTo>
                  <a:lnTo>
                    <a:pt x="940" y="932"/>
                  </a:lnTo>
                  <a:lnTo>
                    <a:pt x="924" y="940"/>
                  </a:lnTo>
                  <a:lnTo>
                    <a:pt x="916" y="944"/>
                  </a:lnTo>
                  <a:lnTo>
                    <a:pt x="896" y="944"/>
                  </a:lnTo>
                  <a:lnTo>
                    <a:pt x="876" y="944"/>
                  </a:lnTo>
                  <a:lnTo>
                    <a:pt x="863" y="932"/>
                  </a:lnTo>
                  <a:lnTo>
                    <a:pt x="855" y="924"/>
                  </a:lnTo>
                  <a:lnTo>
                    <a:pt x="855" y="908"/>
                  </a:lnTo>
                  <a:lnTo>
                    <a:pt x="847" y="900"/>
                  </a:lnTo>
                  <a:lnTo>
                    <a:pt x="831" y="872"/>
                  </a:lnTo>
                  <a:lnTo>
                    <a:pt x="811" y="843"/>
                  </a:lnTo>
                  <a:lnTo>
                    <a:pt x="799" y="835"/>
                  </a:lnTo>
                  <a:lnTo>
                    <a:pt x="795" y="823"/>
                  </a:lnTo>
                  <a:lnTo>
                    <a:pt x="767" y="811"/>
                  </a:lnTo>
                  <a:lnTo>
                    <a:pt x="759" y="803"/>
                  </a:lnTo>
                  <a:lnTo>
                    <a:pt x="718" y="803"/>
                  </a:lnTo>
                  <a:lnTo>
                    <a:pt x="682" y="803"/>
                  </a:lnTo>
                  <a:lnTo>
                    <a:pt x="678" y="803"/>
                  </a:lnTo>
                  <a:lnTo>
                    <a:pt x="670" y="803"/>
                  </a:lnTo>
                  <a:lnTo>
                    <a:pt x="642" y="803"/>
                  </a:lnTo>
                  <a:lnTo>
                    <a:pt x="609" y="803"/>
                  </a:lnTo>
                  <a:lnTo>
                    <a:pt x="553" y="819"/>
                  </a:lnTo>
                  <a:lnTo>
                    <a:pt x="533" y="819"/>
                  </a:lnTo>
                  <a:lnTo>
                    <a:pt x="521" y="811"/>
                  </a:lnTo>
                  <a:lnTo>
                    <a:pt x="508" y="803"/>
                  </a:lnTo>
                  <a:lnTo>
                    <a:pt x="476" y="799"/>
                  </a:lnTo>
                  <a:lnTo>
                    <a:pt x="448" y="791"/>
                  </a:lnTo>
                  <a:lnTo>
                    <a:pt x="440" y="787"/>
                  </a:lnTo>
                  <a:lnTo>
                    <a:pt x="432" y="783"/>
                  </a:lnTo>
                  <a:lnTo>
                    <a:pt x="408" y="775"/>
                  </a:lnTo>
                  <a:lnTo>
                    <a:pt x="383" y="771"/>
                  </a:lnTo>
                  <a:lnTo>
                    <a:pt x="367" y="759"/>
                  </a:lnTo>
                  <a:lnTo>
                    <a:pt x="355" y="747"/>
                  </a:lnTo>
                  <a:lnTo>
                    <a:pt x="339" y="747"/>
                  </a:lnTo>
                  <a:lnTo>
                    <a:pt x="335" y="739"/>
                  </a:lnTo>
                  <a:lnTo>
                    <a:pt x="315" y="739"/>
                  </a:lnTo>
                  <a:lnTo>
                    <a:pt x="291" y="739"/>
                  </a:lnTo>
                  <a:lnTo>
                    <a:pt x="283" y="747"/>
                  </a:lnTo>
                  <a:lnTo>
                    <a:pt x="258" y="759"/>
                  </a:lnTo>
                  <a:lnTo>
                    <a:pt x="254" y="759"/>
                  </a:lnTo>
                  <a:lnTo>
                    <a:pt x="254" y="763"/>
                  </a:lnTo>
                  <a:lnTo>
                    <a:pt x="238" y="763"/>
                  </a:lnTo>
                  <a:lnTo>
                    <a:pt x="214" y="759"/>
                  </a:lnTo>
                  <a:lnTo>
                    <a:pt x="202" y="726"/>
                  </a:lnTo>
                  <a:lnTo>
                    <a:pt x="194" y="710"/>
                  </a:lnTo>
                  <a:lnTo>
                    <a:pt x="194" y="690"/>
                  </a:lnTo>
                  <a:lnTo>
                    <a:pt x="190" y="674"/>
                  </a:lnTo>
                  <a:lnTo>
                    <a:pt x="190" y="662"/>
                  </a:lnTo>
                  <a:lnTo>
                    <a:pt x="178" y="654"/>
                  </a:lnTo>
                  <a:lnTo>
                    <a:pt x="174" y="654"/>
                  </a:lnTo>
                  <a:lnTo>
                    <a:pt x="166" y="654"/>
                  </a:lnTo>
                  <a:lnTo>
                    <a:pt x="162" y="650"/>
                  </a:lnTo>
                  <a:lnTo>
                    <a:pt x="153" y="646"/>
                  </a:lnTo>
                  <a:lnTo>
                    <a:pt x="153" y="601"/>
                  </a:lnTo>
                  <a:lnTo>
                    <a:pt x="149" y="561"/>
                  </a:lnTo>
                  <a:lnTo>
                    <a:pt x="141" y="521"/>
                  </a:lnTo>
                  <a:lnTo>
                    <a:pt x="133" y="480"/>
                  </a:lnTo>
                  <a:lnTo>
                    <a:pt x="109" y="468"/>
                  </a:lnTo>
                  <a:lnTo>
                    <a:pt x="89" y="464"/>
                  </a:lnTo>
                  <a:lnTo>
                    <a:pt x="73" y="440"/>
                  </a:lnTo>
                  <a:lnTo>
                    <a:pt x="65" y="420"/>
                  </a:lnTo>
                  <a:lnTo>
                    <a:pt x="57" y="408"/>
                  </a:lnTo>
                  <a:lnTo>
                    <a:pt x="49" y="396"/>
                  </a:lnTo>
                  <a:lnTo>
                    <a:pt x="37" y="392"/>
                  </a:lnTo>
                  <a:lnTo>
                    <a:pt x="28" y="384"/>
                  </a:lnTo>
                  <a:lnTo>
                    <a:pt x="20" y="371"/>
                  </a:lnTo>
                  <a:lnTo>
                    <a:pt x="20" y="359"/>
                  </a:lnTo>
                  <a:lnTo>
                    <a:pt x="16" y="343"/>
                  </a:lnTo>
                  <a:lnTo>
                    <a:pt x="4" y="323"/>
                  </a:lnTo>
                  <a:lnTo>
                    <a:pt x="0" y="307"/>
                  </a:lnTo>
                  <a:lnTo>
                    <a:pt x="0" y="283"/>
                  </a:lnTo>
                  <a:lnTo>
                    <a:pt x="4" y="250"/>
                  </a:lnTo>
                  <a:lnTo>
                    <a:pt x="4" y="246"/>
                  </a:lnTo>
                  <a:lnTo>
                    <a:pt x="16" y="246"/>
                  </a:lnTo>
                  <a:lnTo>
                    <a:pt x="20" y="246"/>
                  </a:lnTo>
                  <a:lnTo>
                    <a:pt x="28" y="258"/>
                  </a:lnTo>
                  <a:lnTo>
                    <a:pt x="32" y="258"/>
                  </a:lnTo>
                  <a:lnTo>
                    <a:pt x="49" y="258"/>
                  </a:lnTo>
                  <a:lnTo>
                    <a:pt x="61" y="258"/>
                  </a:lnTo>
                  <a:lnTo>
                    <a:pt x="81" y="234"/>
                  </a:lnTo>
                  <a:lnTo>
                    <a:pt x="97" y="210"/>
                  </a:lnTo>
                  <a:lnTo>
                    <a:pt x="97" y="178"/>
                  </a:lnTo>
                  <a:lnTo>
                    <a:pt x="85" y="150"/>
                  </a:lnTo>
                  <a:lnTo>
                    <a:pt x="81" y="150"/>
                  </a:lnTo>
                  <a:lnTo>
                    <a:pt x="73" y="150"/>
                  </a:lnTo>
                  <a:lnTo>
                    <a:pt x="73" y="137"/>
                  </a:lnTo>
                  <a:lnTo>
                    <a:pt x="69" y="117"/>
                  </a:lnTo>
                  <a:lnTo>
                    <a:pt x="69" y="109"/>
                  </a:lnTo>
                  <a:lnTo>
                    <a:pt x="65" y="101"/>
                  </a:lnTo>
                  <a:lnTo>
                    <a:pt x="65" y="73"/>
                  </a:lnTo>
                  <a:lnTo>
                    <a:pt x="65" y="49"/>
                  </a:lnTo>
                  <a:lnTo>
                    <a:pt x="73" y="24"/>
                  </a:lnTo>
                  <a:lnTo>
                    <a:pt x="85" y="0"/>
                  </a:lnTo>
                  <a:lnTo>
                    <a:pt x="97" y="0"/>
                  </a:lnTo>
                  <a:lnTo>
                    <a:pt x="101" y="0"/>
                  </a:lnTo>
                  <a:lnTo>
                    <a:pt x="109" y="12"/>
                  </a:lnTo>
                  <a:lnTo>
                    <a:pt x="117" y="24"/>
                  </a:lnTo>
                  <a:lnTo>
                    <a:pt x="121" y="29"/>
                  </a:lnTo>
                  <a:lnTo>
                    <a:pt x="129" y="41"/>
                  </a:lnTo>
                  <a:lnTo>
                    <a:pt x="129" y="49"/>
                  </a:lnTo>
                  <a:lnTo>
                    <a:pt x="129" y="53"/>
                  </a:lnTo>
                  <a:lnTo>
                    <a:pt x="117" y="65"/>
                  </a:lnTo>
                  <a:lnTo>
                    <a:pt x="101" y="73"/>
                  </a:lnTo>
                  <a:lnTo>
                    <a:pt x="101" y="77"/>
                  </a:lnTo>
                  <a:lnTo>
                    <a:pt x="101" y="89"/>
                  </a:lnTo>
                  <a:lnTo>
                    <a:pt x="121" y="125"/>
                  </a:lnTo>
                  <a:lnTo>
                    <a:pt x="133" y="146"/>
                  </a:lnTo>
                  <a:lnTo>
                    <a:pt x="133" y="154"/>
                  </a:lnTo>
                  <a:lnTo>
                    <a:pt x="133" y="162"/>
                  </a:lnTo>
                  <a:lnTo>
                    <a:pt x="137" y="158"/>
                  </a:lnTo>
                  <a:lnTo>
                    <a:pt x="145" y="158"/>
                  </a:lnTo>
                  <a:lnTo>
                    <a:pt x="149" y="158"/>
                  </a:lnTo>
                  <a:lnTo>
                    <a:pt x="153" y="166"/>
                  </a:lnTo>
                  <a:lnTo>
                    <a:pt x="153" y="174"/>
                  </a:lnTo>
                  <a:lnTo>
                    <a:pt x="186" y="174"/>
                  </a:lnTo>
                  <a:lnTo>
                    <a:pt x="210" y="174"/>
                  </a:lnTo>
                  <a:lnTo>
                    <a:pt x="214" y="174"/>
                  </a:lnTo>
                  <a:lnTo>
                    <a:pt x="238" y="174"/>
                  </a:lnTo>
                  <a:lnTo>
                    <a:pt x="250" y="178"/>
                  </a:lnTo>
                  <a:lnTo>
                    <a:pt x="266" y="186"/>
                  </a:lnTo>
                  <a:lnTo>
                    <a:pt x="335" y="182"/>
                  </a:lnTo>
                  <a:lnTo>
                    <a:pt x="387" y="174"/>
                  </a:lnTo>
                  <a:lnTo>
                    <a:pt x="392" y="174"/>
                  </a:lnTo>
                  <a:lnTo>
                    <a:pt x="392" y="166"/>
                  </a:lnTo>
                  <a:lnTo>
                    <a:pt x="400" y="166"/>
                  </a:lnTo>
                  <a:lnTo>
                    <a:pt x="408" y="162"/>
                  </a:lnTo>
                  <a:lnTo>
                    <a:pt x="408" y="190"/>
                  </a:lnTo>
                  <a:lnTo>
                    <a:pt x="416" y="206"/>
                  </a:lnTo>
                  <a:lnTo>
                    <a:pt x="432" y="218"/>
                  </a:lnTo>
                  <a:lnTo>
                    <a:pt x="444" y="222"/>
                  </a:lnTo>
                  <a:lnTo>
                    <a:pt x="448" y="230"/>
                  </a:lnTo>
                  <a:lnTo>
                    <a:pt x="456" y="238"/>
                  </a:lnTo>
                  <a:lnTo>
                    <a:pt x="456" y="258"/>
                  </a:lnTo>
                  <a:lnTo>
                    <a:pt x="456" y="275"/>
                  </a:lnTo>
                  <a:lnTo>
                    <a:pt x="472" y="279"/>
                  </a:lnTo>
                  <a:lnTo>
                    <a:pt x="496" y="287"/>
                  </a:lnTo>
                  <a:lnTo>
                    <a:pt x="504" y="295"/>
                  </a:lnTo>
                  <a:lnTo>
                    <a:pt x="508" y="295"/>
                  </a:lnTo>
                  <a:lnTo>
                    <a:pt x="521" y="299"/>
                  </a:lnTo>
                  <a:lnTo>
                    <a:pt x="525" y="307"/>
                  </a:lnTo>
                  <a:lnTo>
                    <a:pt x="533" y="311"/>
                  </a:lnTo>
                  <a:lnTo>
                    <a:pt x="549" y="319"/>
                  </a:lnTo>
                  <a:lnTo>
                    <a:pt x="557" y="319"/>
                  </a:lnTo>
                  <a:lnTo>
                    <a:pt x="565" y="319"/>
                  </a:lnTo>
                  <a:lnTo>
                    <a:pt x="569" y="315"/>
                  </a:lnTo>
                  <a:lnTo>
                    <a:pt x="581" y="311"/>
                  </a:lnTo>
                  <a:lnTo>
                    <a:pt x="589" y="279"/>
                  </a:lnTo>
                  <a:lnTo>
                    <a:pt x="601" y="246"/>
                  </a:lnTo>
                  <a:lnTo>
                    <a:pt x="609" y="242"/>
                  </a:lnTo>
                  <a:lnTo>
                    <a:pt x="617" y="242"/>
                  </a:lnTo>
                  <a:lnTo>
                    <a:pt x="630" y="234"/>
                  </a:lnTo>
                  <a:lnTo>
                    <a:pt x="638" y="230"/>
                  </a:lnTo>
                  <a:lnTo>
                    <a:pt x="650" y="234"/>
                  </a:lnTo>
                  <a:lnTo>
                    <a:pt x="666" y="234"/>
                  </a:lnTo>
                  <a:lnTo>
                    <a:pt x="666" y="246"/>
                  </a:lnTo>
                  <a:lnTo>
                    <a:pt x="666" y="258"/>
                  </a:lnTo>
                  <a:lnTo>
                    <a:pt x="662" y="267"/>
                  </a:lnTo>
                  <a:lnTo>
                    <a:pt x="662" y="279"/>
                  </a:lnTo>
                  <a:lnTo>
                    <a:pt x="662" y="295"/>
                  </a:lnTo>
                  <a:lnTo>
                    <a:pt x="666" y="299"/>
                  </a:lnTo>
                  <a:lnTo>
                    <a:pt x="682" y="311"/>
                  </a:lnTo>
                  <a:lnTo>
                    <a:pt x="694" y="307"/>
                  </a:lnTo>
                  <a:lnTo>
                    <a:pt x="718" y="307"/>
                  </a:lnTo>
                  <a:lnTo>
                    <a:pt x="751" y="295"/>
                  </a:lnTo>
                  <a:lnTo>
                    <a:pt x="795" y="287"/>
                  </a:lnTo>
                  <a:lnTo>
                    <a:pt x="799" y="287"/>
                  </a:lnTo>
                  <a:lnTo>
                    <a:pt x="807" y="283"/>
                  </a:lnTo>
                  <a:lnTo>
                    <a:pt x="815" y="283"/>
                  </a:lnTo>
                  <a:lnTo>
                    <a:pt x="831" y="283"/>
                  </a:lnTo>
                  <a:lnTo>
                    <a:pt x="839" y="287"/>
                  </a:lnTo>
                  <a:lnTo>
                    <a:pt x="843" y="287"/>
                  </a:lnTo>
                  <a:lnTo>
                    <a:pt x="855" y="299"/>
                  </a:lnTo>
                  <a:lnTo>
                    <a:pt x="859" y="319"/>
                  </a:lnTo>
                  <a:lnTo>
                    <a:pt x="876" y="319"/>
                  </a:lnTo>
                  <a:lnTo>
                    <a:pt x="896" y="319"/>
                  </a:lnTo>
                  <a:lnTo>
                    <a:pt x="908" y="307"/>
                  </a:lnTo>
                  <a:lnTo>
                    <a:pt x="920" y="295"/>
                  </a:lnTo>
                  <a:lnTo>
                    <a:pt x="936" y="295"/>
                  </a:lnTo>
                  <a:lnTo>
                    <a:pt x="948" y="287"/>
                  </a:lnTo>
                  <a:lnTo>
                    <a:pt x="956" y="275"/>
                  </a:lnTo>
                  <a:lnTo>
                    <a:pt x="964" y="267"/>
                  </a:lnTo>
                  <a:lnTo>
                    <a:pt x="980" y="258"/>
                  </a:lnTo>
                  <a:lnTo>
                    <a:pt x="993" y="250"/>
                  </a:lnTo>
                  <a:lnTo>
                    <a:pt x="1001" y="246"/>
                  </a:lnTo>
                  <a:lnTo>
                    <a:pt x="1009" y="242"/>
                  </a:lnTo>
                  <a:lnTo>
                    <a:pt x="1009" y="230"/>
                  </a:lnTo>
                  <a:lnTo>
                    <a:pt x="1013" y="222"/>
                  </a:lnTo>
                  <a:lnTo>
                    <a:pt x="1029" y="210"/>
                  </a:lnTo>
                  <a:lnTo>
                    <a:pt x="1037" y="202"/>
                  </a:lnTo>
                  <a:lnTo>
                    <a:pt x="1057" y="198"/>
                  </a:lnTo>
                  <a:lnTo>
                    <a:pt x="1069" y="198"/>
                  </a:lnTo>
                  <a:lnTo>
                    <a:pt x="1077" y="198"/>
                  </a:lnTo>
                  <a:lnTo>
                    <a:pt x="1081" y="202"/>
                  </a:lnTo>
                  <a:lnTo>
                    <a:pt x="1089" y="222"/>
                  </a:lnTo>
                  <a:lnTo>
                    <a:pt x="1093" y="226"/>
                  </a:lnTo>
                  <a:lnTo>
                    <a:pt x="1093" y="238"/>
                  </a:lnTo>
                  <a:lnTo>
                    <a:pt x="1093" y="250"/>
                  </a:lnTo>
                  <a:lnTo>
                    <a:pt x="1110" y="258"/>
                  </a:lnTo>
                  <a:lnTo>
                    <a:pt x="1134" y="271"/>
                  </a:lnTo>
                  <a:lnTo>
                    <a:pt x="1158" y="275"/>
                  </a:lnTo>
                  <a:lnTo>
                    <a:pt x="1194" y="283"/>
                  </a:lnTo>
                  <a:lnTo>
                    <a:pt x="1198" y="287"/>
                  </a:lnTo>
                  <a:lnTo>
                    <a:pt x="1206" y="287"/>
                  </a:lnTo>
                  <a:lnTo>
                    <a:pt x="1219" y="287"/>
                  </a:lnTo>
                  <a:lnTo>
                    <a:pt x="1227" y="287"/>
                  </a:lnTo>
                  <a:lnTo>
                    <a:pt x="1231" y="287"/>
                  </a:lnTo>
                  <a:lnTo>
                    <a:pt x="1255" y="283"/>
                  </a:lnTo>
                  <a:lnTo>
                    <a:pt x="1255" y="275"/>
                  </a:lnTo>
                  <a:lnTo>
                    <a:pt x="1259" y="267"/>
                  </a:lnTo>
                  <a:lnTo>
                    <a:pt x="1283" y="246"/>
                  </a:lnTo>
                  <a:lnTo>
                    <a:pt x="1307" y="234"/>
                  </a:lnTo>
                  <a:lnTo>
                    <a:pt x="1323" y="226"/>
                  </a:lnTo>
                  <a:lnTo>
                    <a:pt x="1335" y="222"/>
                  </a:lnTo>
                  <a:lnTo>
                    <a:pt x="1344" y="210"/>
                  </a:lnTo>
                  <a:lnTo>
                    <a:pt x="1360" y="202"/>
                  </a:lnTo>
                  <a:lnTo>
                    <a:pt x="1368" y="190"/>
                  </a:lnTo>
                  <a:lnTo>
                    <a:pt x="1380" y="178"/>
                  </a:lnTo>
                  <a:lnTo>
                    <a:pt x="1416" y="174"/>
                  </a:lnTo>
                  <a:lnTo>
                    <a:pt x="1448" y="174"/>
                  </a:lnTo>
                  <a:lnTo>
                    <a:pt x="1461" y="178"/>
                  </a:lnTo>
                  <a:lnTo>
                    <a:pt x="1481" y="186"/>
                  </a:lnTo>
                  <a:lnTo>
                    <a:pt x="1493" y="190"/>
                  </a:lnTo>
                  <a:lnTo>
                    <a:pt x="1509" y="194"/>
                  </a:lnTo>
                  <a:lnTo>
                    <a:pt x="1533" y="206"/>
                  </a:lnTo>
                  <a:lnTo>
                    <a:pt x="1557" y="222"/>
                  </a:lnTo>
                  <a:lnTo>
                    <a:pt x="1557" y="230"/>
                  </a:lnTo>
                  <a:lnTo>
                    <a:pt x="1561" y="234"/>
                  </a:lnTo>
                  <a:lnTo>
                    <a:pt x="1582" y="234"/>
                  </a:lnTo>
                  <a:lnTo>
                    <a:pt x="1598" y="238"/>
                  </a:lnTo>
                  <a:lnTo>
                    <a:pt x="1642" y="238"/>
                  </a:lnTo>
                  <a:lnTo>
                    <a:pt x="1678" y="238"/>
                  </a:lnTo>
                  <a:lnTo>
                    <a:pt x="1690" y="242"/>
                  </a:lnTo>
                  <a:lnTo>
                    <a:pt x="1695" y="242"/>
                  </a:lnTo>
                  <a:lnTo>
                    <a:pt x="1711" y="258"/>
                  </a:lnTo>
                  <a:lnTo>
                    <a:pt x="1723" y="267"/>
                  </a:lnTo>
                  <a:lnTo>
                    <a:pt x="1723" y="271"/>
                  </a:lnTo>
                  <a:lnTo>
                    <a:pt x="1727" y="279"/>
                  </a:lnTo>
                  <a:lnTo>
                    <a:pt x="1739" y="295"/>
                  </a:lnTo>
                  <a:lnTo>
                    <a:pt x="1751" y="307"/>
                  </a:lnTo>
                  <a:lnTo>
                    <a:pt x="1763" y="311"/>
                  </a:lnTo>
                  <a:lnTo>
                    <a:pt x="1783" y="319"/>
                  </a:lnTo>
                  <a:lnTo>
                    <a:pt x="1783" y="323"/>
                  </a:lnTo>
                  <a:lnTo>
                    <a:pt x="1787" y="331"/>
                  </a:lnTo>
                  <a:lnTo>
                    <a:pt x="1791" y="335"/>
                  </a:lnTo>
                  <a:lnTo>
                    <a:pt x="1803" y="335"/>
                  </a:lnTo>
                  <a:lnTo>
                    <a:pt x="1812" y="351"/>
                  </a:lnTo>
                  <a:lnTo>
                    <a:pt x="1820" y="359"/>
                  </a:lnTo>
                  <a:lnTo>
                    <a:pt x="1836" y="371"/>
                  </a:lnTo>
                  <a:lnTo>
                    <a:pt x="1852" y="384"/>
                  </a:lnTo>
                  <a:lnTo>
                    <a:pt x="1868" y="400"/>
                  </a:lnTo>
                  <a:lnTo>
                    <a:pt x="1884" y="412"/>
                  </a:lnTo>
                  <a:lnTo>
                    <a:pt x="1888" y="412"/>
                  </a:lnTo>
                  <a:lnTo>
                    <a:pt x="1892" y="420"/>
                  </a:lnTo>
                  <a:lnTo>
                    <a:pt x="1904" y="436"/>
                  </a:lnTo>
                  <a:lnTo>
                    <a:pt x="1920" y="456"/>
                  </a:lnTo>
                  <a:lnTo>
                    <a:pt x="1933" y="464"/>
                  </a:lnTo>
                  <a:lnTo>
                    <a:pt x="1949" y="476"/>
                  </a:lnTo>
                  <a:lnTo>
                    <a:pt x="1949" y="484"/>
                  </a:lnTo>
                  <a:lnTo>
                    <a:pt x="1949" y="492"/>
                  </a:lnTo>
                  <a:lnTo>
                    <a:pt x="1945" y="505"/>
                  </a:lnTo>
                  <a:lnTo>
                    <a:pt x="1937" y="521"/>
                  </a:lnTo>
                  <a:lnTo>
                    <a:pt x="1933" y="529"/>
                  </a:lnTo>
                  <a:lnTo>
                    <a:pt x="1924" y="541"/>
                  </a:lnTo>
                  <a:lnTo>
                    <a:pt x="1892" y="565"/>
                  </a:lnTo>
                  <a:lnTo>
                    <a:pt x="1856" y="593"/>
                  </a:lnTo>
                  <a:lnTo>
                    <a:pt x="1852" y="630"/>
                  </a:lnTo>
                  <a:lnTo>
                    <a:pt x="1852" y="682"/>
                  </a:lnTo>
                  <a:lnTo>
                    <a:pt x="1852" y="686"/>
                  </a:lnTo>
                  <a:lnTo>
                    <a:pt x="1852" y="690"/>
                  </a:lnTo>
                  <a:lnTo>
                    <a:pt x="1864" y="698"/>
                  </a:lnTo>
                  <a:lnTo>
                    <a:pt x="1872" y="706"/>
                  </a:lnTo>
                  <a:lnTo>
                    <a:pt x="1892" y="710"/>
                  </a:lnTo>
                  <a:lnTo>
                    <a:pt x="1900" y="718"/>
                  </a:lnTo>
                  <a:lnTo>
                    <a:pt x="1904" y="722"/>
                  </a:lnTo>
                  <a:lnTo>
                    <a:pt x="1904" y="726"/>
                  </a:lnTo>
                  <a:lnTo>
                    <a:pt x="1904" y="731"/>
                  </a:lnTo>
                  <a:lnTo>
                    <a:pt x="1900" y="735"/>
                  </a:lnTo>
                  <a:lnTo>
                    <a:pt x="1892" y="763"/>
                  </a:lnTo>
                  <a:lnTo>
                    <a:pt x="1888" y="787"/>
                  </a:lnTo>
                  <a:lnTo>
                    <a:pt x="1872" y="795"/>
                  </a:lnTo>
                  <a:lnTo>
                    <a:pt x="1852" y="807"/>
                  </a:lnTo>
                  <a:lnTo>
                    <a:pt x="1852" y="831"/>
                  </a:lnTo>
                  <a:lnTo>
                    <a:pt x="1844" y="856"/>
                  </a:lnTo>
                  <a:lnTo>
                    <a:pt x="1836" y="872"/>
                  </a:lnTo>
                  <a:lnTo>
                    <a:pt x="1828" y="880"/>
                  </a:lnTo>
                  <a:lnTo>
                    <a:pt x="1820" y="880"/>
                  </a:lnTo>
                  <a:lnTo>
                    <a:pt x="1812" y="880"/>
                  </a:lnTo>
                  <a:lnTo>
                    <a:pt x="1791" y="852"/>
                  </a:lnTo>
                  <a:lnTo>
                    <a:pt x="1779" y="831"/>
                  </a:lnTo>
                  <a:lnTo>
                    <a:pt x="1775" y="831"/>
                  </a:lnTo>
                  <a:lnTo>
                    <a:pt x="1771" y="831"/>
                  </a:lnTo>
                  <a:lnTo>
                    <a:pt x="1739" y="839"/>
                  </a:lnTo>
                  <a:lnTo>
                    <a:pt x="1690" y="856"/>
                  </a:lnTo>
                  <a:lnTo>
                    <a:pt x="1678" y="856"/>
                  </a:lnTo>
                  <a:lnTo>
                    <a:pt x="1670" y="860"/>
                  </a:lnTo>
                  <a:lnTo>
                    <a:pt x="1662" y="872"/>
                  </a:lnTo>
                  <a:lnTo>
                    <a:pt x="1658" y="880"/>
                  </a:lnTo>
                  <a:lnTo>
                    <a:pt x="1658" y="900"/>
                  </a:lnTo>
                  <a:lnTo>
                    <a:pt x="1658" y="920"/>
                  </a:lnTo>
                  <a:lnTo>
                    <a:pt x="1654" y="924"/>
                  </a:lnTo>
                  <a:lnTo>
                    <a:pt x="1650" y="928"/>
                  </a:lnTo>
                  <a:lnTo>
                    <a:pt x="1642" y="928"/>
                  </a:lnTo>
                  <a:lnTo>
                    <a:pt x="1626" y="932"/>
                  </a:lnTo>
                  <a:lnTo>
                    <a:pt x="1610" y="944"/>
                  </a:lnTo>
                  <a:lnTo>
                    <a:pt x="1594" y="956"/>
                  </a:lnTo>
                  <a:lnTo>
                    <a:pt x="1586" y="956"/>
                  </a:lnTo>
                  <a:lnTo>
                    <a:pt x="1574" y="956"/>
                  </a:lnTo>
                  <a:lnTo>
                    <a:pt x="1565" y="965"/>
                  </a:lnTo>
                  <a:lnTo>
                    <a:pt x="1565" y="969"/>
                  </a:lnTo>
                  <a:lnTo>
                    <a:pt x="1561" y="977"/>
                  </a:lnTo>
                  <a:lnTo>
                    <a:pt x="1557" y="993"/>
                  </a:lnTo>
                  <a:lnTo>
                    <a:pt x="1545" y="1001"/>
                  </a:lnTo>
                  <a:lnTo>
                    <a:pt x="1537" y="1009"/>
                  </a:lnTo>
                  <a:lnTo>
                    <a:pt x="1533" y="1017"/>
                  </a:lnTo>
                  <a:lnTo>
                    <a:pt x="1529" y="1033"/>
                  </a:lnTo>
                  <a:lnTo>
                    <a:pt x="1517" y="1033"/>
                  </a:lnTo>
                  <a:lnTo>
                    <a:pt x="1509" y="1033"/>
                  </a:lnTo>
                  <a:lnTo>
                    <a:pt x="1505" y="1033"/>
                  </a:lnTo>
                  <a:lnTo>
                    <a:pt x="1501" y="1029"/>
                  </a:lnTo>
                  <a:lnTo>
                    <a:pt x="1481" y="1025"/>
                  </a:lnTo>
                  <a:lnTo>
                    <a:pt x="1461" y="1025"/>
                  </a:lnTo>
                  <a:lnTo>
                    <a:pt x="1457" y="1005"/>
                  </a:lnTo>
                  <a:lnTo>
                    <a:pt x="1448" y="993"/>
                  </a:lnTo>
                  <a:lnTo>
                    <a:pt x="1428" y="993"/>
                  </a:lnTo>
                  <a:lnTo>
                    <a:pt x="1416" y="989"/>
                  </a:lnTo>
                  <a:lnTo>
                    <a:pt x="1404" y="981"/>
                  </a:lnTo>
                  <a:lnTo>
                    <a:pt x="1392" y="977"/>
                  </a:lnTo>
                  <a:lnTo>
                    <a:pt x="1388" y="969"/>
                  </a:lnTo>
                  <a:lnTo>
                    <a:pt x="1384" y="969"/>
                  </a:lnTo>
                  <a:lnTo>
                    <a:pt x="1364" y="969"/>
                  </a:lnTo>
                  <a:lnTo>
                    <a:pt x="1344" y="969"/>
                  </a:lnTo>
                  <a:lnTo>
                    <a:pt x="1331" y="977"/>
                  </a:lnTo>
                  <a:lnTo>
                    <a:pt x="1315" y="993"/>
                  </a:lnTo>
                  <a:lnTo>
                    <a:pt x="1315" y="1001"/>
                  </a:lnTo>
                  <a:lnTo>
                    <a:pt x="1311" y="1009"/>
                  </a:lnTo>
                  <a:lnTo>
                    <a:pt x="1307" y="1017"/>
                  </a:lnTo>
                  <a:lnTo>
                    <a:pt x="1307" y="1025"/>
                  </a:lnTo>
                  <a:lnTo>
                    <a:pt x="1307" y="1033"/>
                  </a:lnTo>
                  <a:lnTo>
                    <a:pt x="1303" y="1037"/>
                  </a:lnTo>
                  <a:lnTo>
                    <a:pt x="1291" y="1041"/>
                  </a:lnTo>
                  <a:lnTo>
                    <a:pt x="1279" y="1041"/>
                  </a:lnTo>
                  <a:lnTo>
                    <a:pt x="1259" y="1045"/>
                  </a:lnTo>
                  <a:lnTo>
                    <a:pt x="1247" y="1053"/>
                  </a:lnTo>
                  <a:lnTo>
                    <a:pt x="1231" y="1065"/>
                  </a:lnTo>
                  <a:lnTo>
                    <a:pt x="1219" y="1082"/>
                  </a:lnTo>
                  <a:lnTo>
                    <a:pt x="1206" y="1094"/>
                  </a:lnTo>
                  <a:lnTo>
                    <a:pt x="1186" y="1098"/>
                  </a:lnTo>
                  <a:lnTo>
                    <a:pt x="1174" y="109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1300">
                <a:solidFill>
                  <a:srgbClr val="31B146"/>
                </a:solidFill>
              </a:endParaRPr>
            </a:p>
          </p:txBody>
        </p:sp>
        <p:sp>
          <p:nvSpPr>
            <p:cNvPr id="125" name="Freeform 33"/>
            <p:cNvSpPr>
              <a:spLocks/>
            </p:cNvSpPr>
            <p:nvPr/>
          </p:nvSpPr>
          <p:spPr bwMode="auto">
            <a:xfrm>
              <a:off x="897021" y="4110194"/>
              <a:ext cx="1073150" cy="966349"/>
            </a:xfrm>
            <a:custGeom>
              <a:avLst/>
              <a:gdLst>
                <a:gd name="T0" fmla="*/ 550930403 w 1194"/>
                <a:gd name="T1" fmla="*/ 812902283 h 1085"/>
                <a:gd name="T2" fmla="*/ 416832433 w 1194"/>
                <a:gd name="T3" fmla="*/ 800734887 h 1085"/>
                <a:gd name="T4" fmla="*/ 352207079 w 1194"/>
                <a:gd name="T5" fmla="*/ 778682190 h 1085"/>
                <a:gd name="T6" fmla="*/ 322317977 w 1194"/>
                <a:gd name="T7" fmla="*/ 689711865 h 1085"/>
                <a:gd name="T8" fmla="*/ 260924654 w 1194"/>
                <a:gd name="T9" fmla="*/ 668419575 h 1085"/>
                <a:gd name="T10" fmla="*/ 221341198 w 1194"/>
                <a:gd name="T11" fmla="*/ 686670234 h 1085"/>
                <a:gd name="T12" fmla="*/ 169641274 w 1194"/>
                <a:gd name="T13" fmla="*/ 665377944 h 1085"/>
                <a:gd name="T14" fmla="*/ 78357922 w 1194"/>
                <a:gd name="T15" fmla="*/ 628877499 h 1085"/>
                <a:gd name="T16" fmla="*/ 38775406 w 1194"/>
                <a:gd name="T17" fmla="*/ 576407619 h 1085"/>
                <a:gd name="T18" fmla="*/ 19387703 w 1194"/>
                <a:gd name="T19" fmla="*/ 533823040 h 1085"/>
                <a:gd name="T20" fmla="*/ 9693402 w 1194"/>
                <a:gd name="T21" fmla="*/ 453977499 h 1085"/>
                <a:gd name="T22" fmla="*/ 22618836 w 1194"/>
                <a:gd name="T23" fmla="*/ 386299464 h 1085"/>
                <a:gd name="T24" fmla="*/ 81589055 w 1194"/>
                <a:gd name="T25" fmla="*/ 392382726 h 1085"/>
                <a:gd name="T26" fmla="*/ 176103540 w 1194"/>
                <a:gd name="T27" fmla="*/ 380216202 h 1085"/>
                <a:gd name="T28" fmla="*/ 205185533 w 1194"/>
                <a:gd name="T29" fmla="*/ 407591753 h 1085"/>
                <a:gd name="T30" fmla="*/ 254461489 w 1194"/>
                <a:gd name="T31" fmla="*/ 392382726 h 1085"/>
                <a:gd name="T32" fmla="*/ 283543483 w 1194"/>
                <a:gd name="T33" fmla="*/ 312537294 h 1085"/>
                <a:gd name="T34" fmla="*/ 257693521 w 1194"/>
                <a:gd name="T35" fmla="*/ 232691862 h 1085"/>
                <a:gd name="T36" fmla="*/ 189028970 w 1194"/>
                <a:gd name="T37" fmla="*/ 211400390 h 1085"/>
                <a:gd name="T38" fmla="*/ 182566704 w 1194"/>
                <a:gd name="T39" fmla="*/ 165013772 h 1085"/>
                <a:gd name="T40" fmla="*/ 218110065 w 1194"/>
                <a:gd name="T41" fmla="*/ 146763114 h 1085"/>
                <a:gd name="T42" fmla="*/ 290005749 w 1194"/>
                <a:gd name="T43" fmla="*/ 119387562 h 1085"/>
                <a:gd name="T44" fmla="*/ 302931179 w 1194"/>
                <a:gd name="T45" fmla="*/ 107221011 h 1085"/>
                <a:gd name="T46" fmla="*/ 365132510 w 1194"/>
                <a:gd name="T47" fmla="*/ 82887090 h 1085"/>
                <a:gd name="T48" fmla="*/ 394213604 w 1194"/>
                <a:gd name="T49" fmla="*/ 51709486 h 1085"/>
                <a:gd name="T50" fmla="*/ 352207079 w 1194"/>
                <a:gd name="T51" fmla="*/ 18250665 h 1085"/>
                <a:gd name="T52" fmla="*/ 407139035 w 1194"/>
                <a:gd name="T53" fmla="*/ 6083264 h 1085"/>
                <a:gd name="T54" fmla="*/ 446721536 w 1194"/>
                <a:gd name="T55" fmla="*/ 33458827 h 1085"/>
                <a:gd name="T56" fmla="*/ 501653604 w 1194"/>
                <a:gd name="T57" fmla="*/ 48667855 h 1085"/>
                <a:gd name="T58" fmla="*/ 563854934 w 1194"/>
                <a:gd name="T59" fmla="*/ 33458827 h 1085"/>
                <a:gd name="T60" fmla="*/ 629288297 w 1194"/>
                <a:gd name="T61" fmla="*/ 24333927 h 1085"/>
                <a:gd name="T62" fmla="*/ 693913651 w 1194"/>
                <a:gd name="T63" fmla="*/ 21292296 h 1085"/>
                <a:gd name="T64" fmla="*/ 743190450 w 1194"/>
                <a:gd name="T65" fmla="*/ 79085051 h 1085"/>
                <a:gd name="T66" fmla="*/ 781964943 w 1194"/>
                <a:gd name="T67" fmla="*/ 131554959 h 1085"/>
                <a:gd name="T68" fmla="*/ 804583772 w 1194"/>
                <a:gd name="T69" fmla="*/ 155888879 h 1085"/>
                <a:gd name="T70" fmla="*/ 824779476 w 1194"/>
                <a:gd name="T71" fmla="*/ 214442021 h 1085"/>
                <a:gd name="T72" fmla="*/ 857092603 w 1194"/>
                <a:gd name="T73" fmla="*/ 241817628 h 1085"/>
                <a:gd name="T74" fmla="*/ 840936039 w 1194"/>
                <a:gd name="T75" fmla="*/ 306454032 h 1085"/>
                <a:gd name="T76" fmla="*/ 788428108 w 1194"/>
                <a:gd name="T77" fmla="*/ 352840650 h 1085"/>
                <a:gd name="T78" fmla="*/ 749652715 w 1194"/>
                <a:gd name="T79" fmla="*/ 368048805 h 1085"/>
                <a:gd name="T80" fmla="*/ 723802753 w 1194"/>
                <a:gd name="T81" fmla="*/ 407591753 h 1085"/>
                <a:gd name="T82" fmla="*/ 769040412 w 1194"/>
                <a:gd name="T83" fmla="*/ 463103373 h 1085"/>
                <a:gd name="T84" fmla="*/ 807814905 w 1194"/>
                <a:gd name="T85" fmla="*/ 478311529 h 1085"/>
                <a:gd name="T86" fmla="*/ 831241742 w 1194"/>
                <a:gd name="T87" fmla="*/ 453977499 h 1085"/>
                <a:gd name="T88" fmla="*/ 847398305 w 1194"/>
                <a:gd name="T89" fmla="*/ 425841540 h 1085"/>
                <a:gd name="T90" fmla="*/ 886173697 w 1194"/>
                <a:gd name="T91" fmla="*/ 425841540 h 1085"/>
                <a:gd name="T92" fmla="*/ 922525066 w 1194"/>
                <a:gd name="T93" fmla="*/ 466145004 h 1085"/>
                <a:gd name="T94" fmla="*/ 964531816 w 1194"/>
                <a:gd name="T95" fmla="*/ 481353160 h 1085"/>
                <a:gd name="T96" fmla="*/ 948375253 w 1194"/>
                <a:gd name="T97" fmla="*/ 536864671 h 1085"/>
                <a:gd name="T98" fmla="*/ 876479400 w 1194"/>
                <a:gd name="T99" fmla="*/ 564240223 h 1085"/>
                <a:gd name="T100" fmla="*/ 831241742 w 1194"/>
                <a:gd name="T101" fmla="*/ 594658277 h 1085"/>
                <a:gd name="T102" fmla="*/ 769040412 w 1194"/>
                <a:gd name="T103" fmla="*/ 653211420 h 1085"/>
                <a:gd name="T104" fmla="*/ 720571621 w 1194"/>
                <a:gd name="T105" fmla="*/ 701878389 h 1085"/>
                <a:gd name="T106" fmla="*/ 700375917 w 1194"/>
                <a:gd name="T107" fmla="*/ 745223376 h 1085"/>
                <a:gd name="T108" fmla="*/ 677757088 w 1194"/>
                <a:gd name="T109" fmla="*/ 760431531 h 1085"/>
                <a:gd name="T110" fmla="*/ 661600524 w 1194"/>
                <a:gd name="T111" fmla="*/ 797693256 h 1085"/>
                <a:gd name="T112" fmla="*/ 618786890 w 1194"/>
                <a:gd name="T113" fmla="*/ 815943914 h 108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194"/>
                <a:gd name="T172" fmla="*/ 0 h 1085"/>
                <a:gd name="T173" fmla="*/ 1194 w 1194"/>
                <a:gd name="T174" fmla="*/ 1085 h 108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194" h="1085">
                  <a:moveTo>
                    <a:pt x="722" y="1085"/>
                  </a:moveTo>
                  <a:lnTo>
                    <a:pt x="710" y="1081"/>
                  </a:lnTo>
                  <a:lnTo>
                    <a:pt x="698" y="1077"/>
                  </a:lnTo>
                  <a:lnTo>
                    <a:pt x="686" y="1073"/>
                  </a:lnTo>
                  <a:lnTo>
                    <a:pt x="682" y="1069"/>
                  </a:lnTo>
                  <a:lnTo>
                    <a:pt x="662" y="1065"/>
                  </a:lnTo>
                  <a:lnTo>
                    <a:pt x="649" y="1061"/>
                  </a:lnTo>
                  <a:lnTo>
                    <a:pt x="609" y="1061"/>
                  </a:lnTo>
                  <a:lnTo>
                    <a:pt x="565" y="1057"/>
                  </a:lnTo>
                  <a:lnTo>
                    <a:pt x="516" y="1053"/>
                  </a:lnTo>
                  <a:lnTo>
                    <a:pt x="456" y="1053"/>
                  </a:lnTo>
                  <a:lnTo>
                    <a:pt x="452" y="1049"/>
                  </a:lnTo>
                  <a:lnTo>
                    <a:pt x="436" y="1049"/>
                  </a:lnTo>
                  <a:lnTo>
                    <a:pt x="436" y="1032"/>
                  </a:lnTo>
                  <a:lnTo>
                    <a:pt x="436" y="1024"/>
                  </a:lnTo>
                  <a:lnTo>
                    <a:pt x="424" y="1012"/>
                  </a:lnTo>
                  <a:lnTo>
                    <a:pt x="415" y="992"/>
                  </a:lnTo>
                  <a:lnTo>
                    <a:pt x="415" y="956"/>
                  </a:lnTo>
                  <a:lnTo>
                    <a:pt x="415" y="923"/>
                  </a:lnTo>
                  <a:lnTo>
                    <a:pt x="399" y="907"/>
                  </a:lnTo>
                  <a:lnTo>
                    <a:pt x="387" y="899"/>
                  </a:lnTo>
                  <a:lnTo>
                    <a:pt x="367" y="887"/>
                  </a:lnTo>
                  <a:lnTo>
                    <a:pt x="351" y="887"/>
                  </a:lnTo>
                  <a:lnTo>
                    <a:pt x="339" y="879"/>
                  </a:lnTo>
                  <a:lnTo>
                    <a:pt x="323" y="879"/>
                  </a:lnTo>
                  <a:lnTo>
                    <a:pt x="319" y="887"/>
                  </a:lnTo>
                  <a:lnTo>
                    <a:pt x="315" y="887"/>
                  </a:lnTo>
                  <a:lnTo>
                    <a:pt x="307" y="899"/>
                  </a:lnTo>
                  <a:lnTo>
                    <a:pt x="294" y="903"/>
                  </a:lnTo>
                  <a:lnTo>
                    <a:pt x="274" y="903"/>
                  </a:lnTo>
                  <a:lnTo>
                    <a:pt x="254" y="903"/>
                  </a:lnTo>
                  <a:lnTo>
                    <a:pt x="238" y="891"/>
                  </a:lnTo>
                  <a:lnTo>
                    <a:pt x="222" y="887"/>
                  </a:lnTo>
                  <a:lnTo>
                    <a:pt x="218" y="879"/>
                  </a:lnTo>
                  <a:lnTo>
                    <a:pt x="210" y="875"/>
                  </a:lnTo>
                  <a:lnTo>
                    <a:pt x="186" y="863"/>
                  </a:lnTo>
                  <a:lnTo>
                    <a:pt x="157" y="855"/>
                  </a:lnTo>
                  <a:lnTo>
                    <a:pt x="133" y="847"/>
                  </a:lnTo>
                  <a:lnTo>
                    <a:pt x="105" y="839"/>
                  </a:lnTo>
                  <a:lnTo>
                    <a:pt x="97" y="827"/>
                  </a:lnTo>
                  <a:lnTo>
                    <a:pt x="93" y="819"/>
                  </a:lnTo>
                  <a:lnTo>
                    <a:pt x="77" y="811"/>
                  </a:lnTo>
                  <a:lnTo>
                    <a:pt x="69" y="802"/>
                  </a:lnTo>
                  <a:lnTo>
                    <a:pt x="60" y="782"/>
                  </a:lnTo>
                  <a:lnTo>
                    <a:pt x="48" y="758"/>
                  </a:lnTo>
                  <a:lnTo>
                    <a:pt x="44" y="742"/>
                  </a:lnTo>
                  <a:lnTo>
                    <a:pt x="36" y="730"/>
                  </a:lnTo>
                  <a:lnTo>
                    <a:pt x="28" y="714"/>
                  </a:lnTo>
                  <a:lnTo>
                    <a:pt x="24" y="702"/>
                  </a:lnTo>
                  <a:lnTo>
                    <a:pt x="16" y="698"/>
                  </a:lnTo>
                  <a:lnTo>
                    <a:pt x="16" y="685"/>
                  </a:lnTo>
                  <a:lnTo>
                    <a:pt x="12" y="681"/>
                  </a:lnTo>
                  <a:lnTo>
                    <a:pt x="12" y="637"/>
                  </a:lnTo>
                  <a:lnTo>
                    <a:pt x="12" y="597"/>
                  </a:lnTo>
                  <a:lnTo>
                    <a:pt x="8" y="548"/>
                  </a:lnTo>
                  <a:lnTo>
                    <a:pt x="0" y="504"/>
                  </a:lnTo>
                  <a:lnTo>
                    <a:pt x="12" y="504"/>
                  </a:lnTo>
                  <a:lnTo>
                    <a:pt x="24" y="508"/>
                  </a:lnTo>
                  <a:lnTo>
                    <a:pt x="28" y="508"/>
                  </a:lnTo>
                  <a:lnTo>
                    <a:pt x="40" y="512"/>
                  </a:lnTo>
                  <a:lnTo>
                    <a:pt x="69" y="512"/>
                  </a:lnTo>
                  <a:lnTo>
                    <a:pt x="93" y="512"/>
                  </a:lnTo>
                  <a:lnTo>
                    <a:pt x="97" y="516"/>
                  </a:lnTo>
                  <a:lnTo>
                    <a:pt x="101" y="516"/>
                  </a:lnTo>
                  <a:lnTo>
                    <a:pt x="145" y="516"/>
                  </a:lnTo>
                  <a:lnTo>
                    <a:pt x="182" y="524"/>
                  </a:lnTo>
                  <a:lnTo>
                    <a:pt x="190" y="512"/>
                  </a:lnTo>
                  <a:lnTo>
                    <a:pt x="206" y="500"/>
                  </a:lnTo>
                  <a:lnTo>
                    <a:pt x="218" y="500"/>
                  </a:lnTo>
                  <a:lnTo>
                    <a:pt x="230" y="500"/>
                  </a:lnTo>
                  <a:lnTo>
                    <a:pt x="234" y="508"/>
                  </a:lnTo>
                  <a:lnTo>
                    <a:pt x="242" y="532"/>
                  </a:lnTo>
                  <a:lnTo>
                    <a:pt x="246" y="532"/>
                  </a:lnTo>
                  <a:lnTo>
                    <a:pt x="254" y="536"/>
                  </a:lnTo>
                  <a:lnTo>
                    <a:pt x="270" y="536"/>
                  </a:lnTo>
                  <a:lnTo>
                    <a:pt x="294" y="536"/>
                  </a:lnTo>
                  <a:lnTo>
                    <a:pt x="299" y="532"/>
                  </a:lnTo>
                  <a:lnTo>
                    <a:pt x="307" y="532"/>
                  </a:lnTo>
                  <a:lnTo>
                    <a:pt x="315" y="516"/>
                  </a:lnTo>
                  <a:lnTo>
                    <a:pt x="335" y="476"/>
                  </a:lnTo>
                  <a:lnTo>
                    <a:pt x="335" y="460"/>
                  </a:lnTo>
                  <a:lnTo>
                    <a:pt x="339" y="439"/>
                  </a:lnTo>
                  <a:lnTo>
                    <a:pt x="343" y="427"/>
                  </a:lnTo>
                  <a:lnTo>
                    <a:pt x="351" y="411"/>
                  </a:lnTo>
                  <a:lnTo>
                    <a:pt x="351" y="383"/>
                  </a:lnTo>
                  <a:lnTo>
                    <a:pt x="343" y="330"/>
                  </a:lnTo>
                  <a:lnTo>
                    <a:pt x="335" y="326"/>
                  </a:lnTo>
                  <a:lnTo>
                    <a:pt x="323" y="314"/>
                  </a:lnTo>
                  <a:lnTo>
                    <a:pt x="319" y="306"/>
                  </a:lnTo>
                  <a:lnTo>
                    <a:pt x="311" y="302"/>
                  </a:lnTo>
                  <a:lnTo>
                    <a:pt x="286" y="302"/>
                  </a:lnTo>
                  <a:lnTo>
                    <a:pt x="258" y="302"/>
                  </a:lnTo>
                  <a:lnTo>
                    <a:pt x="238" y="282"/>
                  </a:lnTo>
                  <a:lnTo>
                    <a:pt x="234" y="278"/>
                  </a:lnTo>
                  <a:lnTo>
                    <a:pt x="230" y="274"/>
                  </a:lnTo>
                  <a:lnTo>
                    <a:pt x="222" y="270"/>
                  </a:lnTo>
                  <a:lnTo>
                    <a:pt x="222" y="250"/>
                  </a:lnTo>
                  <a:lnTo>
                    <a:pt x="222" y="221"/>
                  </a:lnTo>
                  <a:lnTo>
                    <a:pt x="226" y="217"/>
                  </a:lnTo>
                  <a:lnTo>
                    <a:pt x="226" y="209"/>
                  </a:lnTo>
                  <a:lnTo>
                    <a:pt x="230" y="205"/>
                  </a:lnTo>
                  <a:lnTo>
                    <a:pt x="238" y="197"/>
                  </a:lnTo>
                  <a:lnTo>
                    <a:pt x="254" y="193"/>
                  </a:lnTo>
                  <a:lnTo>
                    <a:pt x="270" y="193"/>
                  </a:lnTo>
                  <a:lnTo>
                    <a:pt x="294" y="181"/>
                  </a:lnTo>
                  <a:lnTo>
                    <a:pt x="319" y="173"/>
                  </a:lnTo>
                  <a:lnTo>
                    <a:pt x="339" y="169"/>
                  </a:lnTo>
                  <a:lnTo>
                    <a:pt x="351" y="161"/>
                  </a:lnTo>
                  <a:lnTo>
                    <a:pt x="359" y="157"/>
                  </a:lnTo>
                  <a:lnTo>
                    <a:pt x="359" y="145"/>
                  </a:lnTo>
                  <a:lnTo>
                    <a:pt x="363" y="141"/>
                  </a:lnTo>
                  <a:lnTo>
                    <a:pt x="367" y="141"/>
                  </a:lnTo>
                  <a:lnTo>
                    <a:pt x="371" y="145"/>
                  </a:lnTo>
                  <a:lnTo>
                    <a:pt x="375" y="141"/>
                  </a:lnTo>
                  <a:lnTo>
                    <a:pt x="387" y="133"/>
                  </a:lnTo>
                  <a:lnTo>
                    <a:pt x="391" y="129"/>
                  </a:lnTo>
                  <a:lnTo>
                    <a:pt x="403" y="129"/>
                  </a:lnTo>
                  <a:lnTo>
                    <a:pt x="428" y="121"/>
                  </a:lnTo>
                  <a:lnTo>
                    <a:pt x="452" y="109"/>
                  </a:lnTo>
                  <a:lnTo>
                    <a:pt x="464" y="104"/>
                  </a:lnTo>
                  <a:lnTo>
                    <a:pt x="476" y="104"/>
                  </a:lnTo>
                  <a:lnTo>
                    <a:pt x="480" y="96"/>
                  </a:lnTo>
                  <a:lnTo>
                    <a:pt x="488" y="84"/>
                  </a:lnTo>
                  <a:lnTo>
                    <a:pt x="488" y="68"/>
                  </a:lnTo>
                  <a:lnTo>
                    <a:pt x="492" y="52"/>
                  </a:lnTo>
                  <a:lnTo>
                    <a:pt x="480" y="44"/>
                  </a:lnTo>
                  <a:lnTo>
                    <a:pt x="452" y="24"/>
                  </a:lnTo>
                  <a:lnTo>
                    <a:pt x="448" y="24"/>
                  </a:lnTo>
                  <a:lnTo>
                    <a:pt x="436" y="24"/>
                  </a:lnTo>
                  <a:lnTo>
                    <a:pt x="436" y="8"/>
                  </a:lnTo>
                  <a:lnTo>
                    <a:pt x="440" y="0"/>
                  </a:lnTo>
                  <a:lnTo>
                    <a:pt x="464" y="0"/>
                  </a:lnTo>
                  <a:lnTo>
                    <a:pt x="480" y="0"/>
                  </a:lnTo>
                  <a:lnTo>
                    <a:pt x="504" y="8"/>
                  </a:lnTo>
                  <a:lnTo>
                    <a:pt x="520" y="16"/>
                  </a:lnTo>
                  <a:lnTo>
                    <a:pt x="532" y="20"/>
                  </a:lnTo>
                  <a:lnTo>
                    <a:pt x="541" y="28"/>
                  </a:lnTo>
                  <a:lnTo>
                    <a:pt x="545" y="36"/>
                  </a:lnTo>
                  <a:lnTo>
                    <a:pt x="553" y="44"/>
                  </a:lnTo>
                  <a:lnTo>
                    <a:pt x="569" y="60"/>
                  </a:lnTo>
                  <a:lnTo>
                    <a:pt x="581" y="64"/>
                  </a:lnTo>
                  <a:lnTo>
                    <a:pt x="597" y="64"/>
                  </a:lnTo>
                  <a:lnTo>
                    <a:pt x="617" y="64"/>
                  </a:lnTo>
                  <a:lnTo>
                    <a:pt x="621" y="64"/>
                  </a:lnTo>
                  <a:lnTo>
                    <a:pt x="633" y="60"/>
                  </a:lnTo>
                  <a:lnTo>
                    <a:pt x="637" y="56"/>
                  </a:lnTo>
                  <a:lnTo>
                    <a:pt x="666" y="52"/>
                  </a:lnTo>
                  <a:lnTo>
                    <a:pt x="690" y="52"/>
                  </a:lnTo>
                  <a:lnTo>
                    <a:pt x="698" y="44"/>
                  </a:lnTo>
                  <a:lnTo>
                    <a:pt x="702" y="44"/>
                  </a:lnTo>
                  <a:lnTo>
                    <a:pt x="726" y="36"/>
                  </a:lnTo>
                  <a:lnTo>
                    <a:pt x="750" y="32"/>
                  </a:lnTo>
                  <a:lnTo>
                    <a:pt x="754" y="28"/>
                  </a:lnTo>
                  <a:lnTo>
                    <a:pt x="779" y="32"/>
                  </a:lnTo>
                  <a:lnTo>
                    <a:pt x="803" y="32"/>
                  </a:lnTo>
                  <a:lnTo>
                    <a:pt x="811" y="32"/>
                  </a:lnTo>
                  <a:lnTo>
                    <a:pt x="815" y="28"/>
                  </a:lnTo>
                  <a:lnTo>
                    <a:pt x="839" y="28"/>
                  </a:lnTo>
                  <a:lnTo>
                    <a:pt x="859" y="28"/>
                  </a:lnTo>
                  <a:lnTo>
                    <a:pt x="879" y="68"/>
                  </a:lnTo>
                  <a:lnTo>
                    <a:pt x="883" y="84"/>
                  </a:lnTo>
                  <a:lnTo>
                    <a:pt x="896" y="84"/>
                  </a:lnTo>
                  <a:lnTo>
                    <a:pt x="908" y="84"/>
                  </a:lnTo>
                  <a:lnTo>
                    <a:pt x="920" y="104"/>
                  </a:lnTo>
                  <a:lnTo>
                    <a:pt x="936" y="129"/>
                  </a:lnTo>
                  <a:lnTo>
                    <a:pt x="936" y="141"/>
                  </a:lnTo>
                  <a:lnTo>
                    <a:pt x="944" y="157"/>
                  </a:lnTo>
                  <a:lnTo>
                    <a:pt x="952" y="161"/>
                  </a:lnTo>
                  <a:lnTo>
                    <a:pt x="968" y="173"/>
                  </a:lnTo>
                  <a:lnTo>
                    <a:pt x="968" y="181"/>
                  </a:lnTo>
                  <a:lnTo>
                    <a:pt x="972" y="185"/>
                  </a:lnTo>
                  <a:lnTo>
                    <a:pt x="980" y="193"/>
                  </a:lnTo>
                  <a:lnTo>
                    <a:pt x="988" y="197"/>
                  </a:lnTo>
                  <a:lnTo>
                    <a:pt x="996" y="205"/>
                  </a:lnTo>
                  <a:lnTo>
                    <a:pt x="1009" y="205"/>
                  </a:lnTo>
                  <a:lnTo>
                    <a:pt x="1009" y="209"/>
                  </a:lnTo>
                  <a:lnTo>
                    <a:pt x="1009" y="213"/>
                  </a:lnTo>
                  <a:lnTo>
                    <a:pt x="1013" y="262"/>
                  </a:lnTo>
                  <a:lnTo>
                    <a:pt x="1021" y="282"/>
                  </a:lnTo>
                  <a:lnTo>
                    <a:pt x="1033" y="294"/>
                  </a:lnTo>
                  <a:lnTo>
                    <a:pt x="1041" y="302"/>
                  </a:lnTo>
                  <a:lnTo>
                    <a:pt x="1049" y="302"/>
                  </a:lnTo>
                  <a:lnTo>
                    <a:pt x="1057" y="302"/>
                  </a:lnTo>
                  <a:lnTo>
                    <a:pt x="1061" y="318"/>
                  </a:lnTo>
                  <a:lnTo>
                    <a:pt x="1065" y="330"/>
                  </a:lnTo>
                  <a:lnTo>
                    <a:pt x="1065" y="351"/>
                  </a:lnTo>
                  <a:lnTo>
                    <a:pt x="1065" y="363"/>
                  </a:lnTo>
                  <a:lnTo>
                    <a:pt x="1057" y="379"/>
                  </a:lnTo>
                  <a:lnTo>
                    <a:pt x="1041" y="403"/>
                  </a:lnTo>
                  <a:lnTo>
                    <a:pt x="1029" y="415"/>
                  </a:lnTo>
                  <a:lnTo>
                    <a:pt x="1009" y="427"/>
                  </a:lnTo>
                  <a:lnTo>
                    <a:pt x="996" y="451"/>
                  </a:lnTo>
                  <a:lnTo>
                    <a:pt x="988" y="460"/>
                  </a:lnTo>
                  <a:lnTo>
                    <a:pt x="976" y="464"/>
                  </a:lnTo>
                  <a:lnTo>
                    <a:pt x="964" y="464"/>
                  </a:lnTo>
                  <a:lnTo>
                    <a:pt x="952" y="468"/>
                  </a:lnTo>
                  <a:lnTo>
                    <a:pt x="936" y="472"/>
                  </a:lnTo>
                  <a:lnTo>
                    <a:pt x="932" y="476"/>
                  </a:lnTo>
                  <a:lnTo>
                    <a:pt x="928" y="484"/>
                  </a:lnTo>
                  <a:lnTo>
                    <a:pt x="920" y="484"/>
                  </a:lnTo>
                  <a:lnTo>
                    <a:pt x="912" y="484"/>
                  </a:lnTo>
                  <a:lnTo>
                    <a:pt x="908" y="496"/>
                  </a:lnTo>
                  <a:lnTo>
                    <a:pt x="900" y="508"/>
                  </a:lnTo>
                  <a:lnTo>
                    <a:pt x="896" y="536"/>
                  </a:lnTo>
                  <a:lnTo>
                    <a:pt x="896" y="560"/>
                  </a:lnTo>
                  <a:lnTo>
                    <a:pt x="908" y="572"/>
                  </a:lnTo>
                  <a:lnTo>
                    <a:pt x="916" y="585"/>
                  </a:lnTo>
                  <a:lnTo>
                    <a:pt x="932" y="597"/>
                  </a:lnTo>
                  <a:lnTo>
                    <a:pt x="952" y="609"/>
                  </a:lnTo>
                  <a:lnTo>
                    <a:pt x="960" y="613"/>
                  </a:lnTo>
                  <a:lnTo>
                    <a:pt x="964" y="621"/>
                  </a:lnTo>
                  <a:lnTo>
                    <a:pt x="972" y="621"/>
                  </a:lnTo>
                  <a:lnTo>
                    <a:pt x="984" y="629"/>
                  </a:lnTo>
                  <a:lnTo>
                    <a:pt x="1000" y="629"/>
                  </a:lnTo>
                  <a:lnTo>
                    <a:pt x="1021" y="629"/>
                  </a:lnTo>
                  <a:lnTo>
                    <a:pt x="1021" y="625"/>
                  </a:lnTo>
                  <a:lnTo>
                    <a:pt x="1025" y="621"/>
                  </a:lnTo>
                  <a:lnTo>
                    <a:pt x="1025" y="609"/>
                  </a:lnTo>
                  <a:lnTo>
                    <a:pt x="1029" y="597"/>
                  </a:lnTo>
                  <a:lnTo>
                    <a:pt x="1033" y="597"/>
                  </a:lnTo>
                  <a:lnTo>
                    <a:pt x="1037" y="589"/>
                  </a:lnTo>
                  <a:lnTo>
                    <a:pt x="1037" y="577"/>
                  </a:lnTo>
                  <a:lnTo>
                    <a:pt x="1041" y="560"/>
                  </a:lnTo>
                  <a:lnTo>
                    <a:pt x="1049" y="560"/>
                  </a:lnTo>
                  <a:lnTo>
                    <a:pt x="1049" y="552"/>
                  </a:lnTo>
                  <a:lnTo>
                    <a:pt x="1061" y="552"/>
                  </a:lnTo>
                  <a:lnTo>
                    <a:pt x="1073" y="552"/>
                  </a:lnTo>
                  <a:lnTo>
                    <a:pt x="1085" y="560"/>
                  </a:lnTo>
                  <a:lnTo>
                    <a:pt x="1097" y="560"/>
                  </a:lnTo>
                  <a:lnTo>
                    <a:pt x="1101" y="560"/>
                  </a:lnTo>
                  <a:lnTo>
                    <a:pt x="1101" y="568"/>
                  </a:lnTo>
                  <a:lnTo>
                    <a:pt x="1109" y="585"/>
                  </a:lnTo>
                  <a:lnTo>
                    <a:pt x="1109" y="609"/>
                  </a:lnTo>
                  <a:lnTo>
                    <a:pt x="1142" y="613"/>
                  </a:lnTo>
                  <a:lnTo>
                    <a:pt x="1174" y="617"/>
                  </a:lnTo>
                  <a:lnTo>
                    <a:pt x="1174" y="625"/>
                  </a:lnTo>
                  <a:lnTo>
                    <a:pt x="1178" y="629"/>
                  </a:lnTo>
                  <a:lnTo>
                    <a:pt x="1182" y="629"/>
                  </a:lnTo>
                  <a:lnTo>
                    <a:pt x="1194" y="633"/>
                  </a:lnTo>
                  <a:lnTo>
                    <a:pt x="1190" y="653"/>
                  </a:lnTo>
                  <a:lnTo>
                    <a:pt x="1182" y="669"/>
                  </a:lnTo>
                  <a:lnTo>
                    <a:pt x="1182" y="681"/>
                  </a:lnTo>
                  <a:lnTo>
                    <a:pt x="1182" y="694"/>
                  </a:lnTo>
                  <a:lnTo>
                    <a:pt x="1174" y="706"/>
                  </a:lnTo>
                  <a:lnTo>
                    <a:pt x="1166" y="718"/>
                  </a:lnTo>
                  <a:lnTo>
                    <a:pt x="1162" y="718"/>
                  </a:lnTo>
                  <a:lnTo>
                    <a:pt x="1158" y="722"/>
                  </a:lnTo>
                  <a:lnTo>
                    <a:pt x="1097" y="734"/>
                  </a:lnTo>
                  <a:lnTo>
                    <a:pt x="1085" y="742"/>
                  </a:lnTo>
                  <a:lnTo>
                    <a:pt x="1061" y="746"/>
                  </a:lnTo>
                  <a:lnTo>
                    <a:pt x="1041" y="754"/>
                  </a:lnTo>
                  <a:lnTo>
                    <a:pt x="1037" y="754"/>
                  </a:lnTo>
                  <a:lnTo>
                    <a:pt x="1029" y="766"/>
                  </a:lnTo>
                  <a:lnTo>
                    <a:pt x="1029" y="782"/>
                  </a:lnTo>
                  <a:lnTo>
                    <a:pt x="1025" y="802"/>
                  </a:lnTo>
                  <a:lnTo>
                    <a:pt x="1013" y="815"/>
                  </a:lnTo>
                  <a:lnTo>
                    <a:pt x="1000" y="827"/>
                  </a:lnTo>
                  <a:lnTo>
                    <a:pt x="976" y="839"/>
                  </a:lnTo>
                  <a:lnTo>
                    <a:pt x="952" y="859"/>
                  </a:lnTo>
                  <a:lnTo>
                    <a:pt x="936" y="863"/>
                  </a:lnTo>
                  <a:lnTo>
                    <a:pt x="920" y="867"/>
                  </a:lnTo>
                  <a:lnTo>
                    <a:pt x="912" y="891"/>
                  </a:lnTo>
                  <a:lnTo>
                    <a:pt x="896" y="923"/>
                  </a:lnTo>
                  <a:lnTo>
                    <a:pt x="892" y="923"/>
                  </a:lnTo>
                  <a:lnTo>
                    <a:pt x="883" y="940"/>
                  </a:lnTo>
                  <a:lnTo>
                    <a:pt x="883" y="952"/>
                  </a:lnTo>
                  <a:lnTo>
                    <a:pt x="879" y="956"/>
                  </a:lnTo>
                  <a:lnTo>
                    <a:pt x="867" y="972"/>
                  </a:lnTo>
                  <a:lnTo>
                    <a:pt x="867" y="980"/>
                  </a:lnTo>
                  <a:lnTo>
                    <a:pt x="863" y="992"/>
                  </a:lnTo>
                  <a:lnTo>
                    <a:pt x="863" y="1000"/>
                  </a:lnTo>
                  <a:lnTo>
                    <a:pt x="859" y="1000"/>
                  </a:lnTo>
                  <a:lnTo>
                    <a:pt x="847" y="1000"/>
                  </a:lnTo>
                  <a:lnTo>
                    <a:pt x="839" y="1000"/>
                  </a:lnTo>
                  <a:lnTo>
                    <a:pt x="835" y="1008"/>
                  </a:lnTo>
                  <a:lnTo>
                    <a:pt x="831" y="1016"/>
                  </a:lnTo>
                  <a:lnTo>
                    <a:pt x="831" y="1028"/>
                  </a:lnTo>
                  <a:lnTo>
                    <a:pt x="827" y="1049"/>
                  </a:lnTo>
                  <a:lnTo>
                    <a:pt x="819" y="1049"/>
                  </a:lnTo>
                  <a:lnTo>
                    <a:pt x="815" y="1053"/>
                  </a:lnTo>
                  <a:lnTo>
                    <a:pt x="799" y="1057"/>
                  </a:lnTo>
                  <a:lnTo>
                    <a:pt x="779" y="1065"/>
                  </a:lnTo>
                  <a:lnTo>
                    <a:pt x="775" y="1069"/>
                  </a:lnTo>
                  <a:lnTo>
                    <a:pt x="766" y="1073"/>
                  </a:lnTo>
                  <a:lnTo>
                    <a:pt x="750" y="1081"/>
                  </a:lnTo>
                  <a:lnTo>
                    <a:pt x="730" y="1085"/>
                  </a:lnTo>
                  <a:lnTo>
                    <a:pt x="726" y="1085"/>
                  </a:lnTo>
                  <a:lnTo>
                    <a:pt x="722" y="1085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 dirty="0"/>
            </a:p>
          </p:txBody>
        </p:sp>
        <p:sp>
          <p:nvSpPr>
            <p:cNvPr id="126" name="Freeform 34"/>
            <p:cNvSpPr>
              <a:spLocks/>
            </p:cNvSpPr>
            <p:nvPr/>
          </p:nvSpPr>
          <p:spPr bwMode="auto">
            <a:xfrm>
              <a:off x="3329071" y="3821719"/>
              <a:ext cx="1085850" cy="1062011"/>
            </a:xfrm>
            <a:custGeom>
              <a:avLst/>
              <a:gdLst>
                <a:gd name="T0" fmla="*/ 571778092 w 1210"/>
                <a:gd name="T1" fmla="*/ 863064726 h 1194"/>
                <a:gd name="T2" fmla="*/ 555671623 w 1210"/>
                <a:gd name="T3" fmla="*/ 795566672 h 1194"/>
                <a:gd name="T4" fmla="*/ 509768006 w 1210"/>
                <a:gd name="T5" fmla="*/ 758404294 h 1194"/>
                <a:gd name="T6" fmla="*/ 461448485 w 1210"/>
                <a:gd name="T7" fmla="*/ 712899910 h 1194"/>
                <a:gd name="T8" fmla="*/ 415545766 w 1210"/>
                <a:gd name="T9" fmla="*/ 639335418 h 1194"/>
                <a:gd name="T10" fmla="*/ 431652235 w 1210"/>
                <a:gd name="T11" fmla="*/ 608998872 h 1194"/>
                <a:gd name="T12" fmla="*/ 347898235 w 1210"/>
                <a:gd name="T13" fmla="*/ 602931563 h 1194"/>
                <a:gd name="T14" fmla="*/ 260118516 w 1210"/>
                <a:gd name="T15" fmla="*/ 590038422 h 1194"/>
                <a:gd name="T16" fmla="*/ 217436495 w 1210"/>
                <a:gd name="T17" fmla="*/ 556668657 h 1194"/>
                <a:gd name="T18" fmla="*/ 169117087 w 1210"/>
                <a:gd name="T19" fmla="*/ 547568128 h 1194"/>
                <a:gd name="T20" fmla="*/ 116771931 w 1210"/>
                <a:gd name="T21" fmla="*/ 550601347 h 1194"/>
                <a:gd name="T22" fmla="*/ 71673278 w 1210"/>
                <a:gd name="T23" fmla="*/ 568803275 h 1194"/>
                <a:gd name="T24" fmla="*/ 51540178 w 1210"/>
                <a:gd name="T25" fmla="*/ 529366200 h 1194"/>
                <a:gd name="T26" fmla="*/ 68452523 w 1210"/>
                <a:gd name="T27" fmla="*/ 437599672 h 1194"/>
                <a:gd name="T28" fmla="*/ 38655361 w 1210"/>
                <a:gd name="T29" fmla="*/ 376168928 h 1194"/>
                <a:gd name="T30" fmla="*/ 0 w 1210"/>
                <a:gd name="T31" fmla="*/ 311704094 h 1194"/>
                <a:gd name="T32" fmla="*/ 12884820 w 1210"/>
                <a:gd name="T33" fmla="*/ 293502166 h 1194"/>
                <a:gd name="T34" fmla="*/ 71673278 w 1210"/>
                <a:gd name="T35" fmla="*/ 257099181 h 1194"/>
                <a:gd name="T36" fmla="*/ 139320837 w 1210"/>
                <a:gd name="T37" fmla="*/ 222970839 h 1194"/>
                <a:gd name="T38" fmla="*/ 194887618 w 1210"/>
                <a:gd name="T39" fmla="*/ 198701602 h 1194"/>
                <a:gd name="T40" fmla="*/ 236764673 w 1210"/>
                <a:gd name="T41" fmla="*/ 116035711 h 1194"/>
                <a:gd name="T42" fmla="*/ 263340168 w 1210"/>
                <a:gd name="T43" fmla="*/ 76598609 h 1194"/>
                <a:gd name="T44" fmla="*/ 343871618 w 1210"/>
                <a:gd name="T45" fmla="*/ 106935155 h 1194"/>
                <a:gd name="T46" fmla="*/ 471112659 w 1210"/>
                <a:gd name="T47" fmla="*/ 94800537 h 1194"/>
                <a:gd name="T48" fmla="*/ 522652822 w 1210"/>
                <a:gd name="T49" fmla="*/ 85700008 h 1194"/>
                <a:gd name="T50" fmla="*/ 565334786 w 1210"/>
                <a:gd name="T51" fmla="*/ 33369779 h 1194"/>
                <a:gd name="T52" fmla="*/ 591105317 w 1210"/>
                <a:gd name="T53" fmla="*/ 0 h 1194"/>
                <a:gd name="T54" fmla="*/ 643451342 w 1210"/>
                <a:gd name="T55" fmla="*/ 33369779 h 1194"/>
                <a:gd name="T56" fmla="*/ 714319628 w 1210"/>
                <a:gd name="T57" fmla="*/ 57639030 h 1194"/>
                <a:gd name="T58" fmla="*/ 750559184 w 1210"/>
                <a:gd name="T59" fmla="*/ 79632699 h 1194"/>
                <a:gd name="T60" fmla="*/ 792435287 w 1210"/>
                <a:gd name="T61" fmla="*/ 97834627 h 1194"/>
                <a:gd name="T62" fmla="*/ 792435287 w 1210"/>
                <a:gd name="T63" fmla="*/ 125137110 h 1194"/>
                <a:gd name="T64" fmla="*/ 753779940 w 1210"/>
                <a:gd name="T65" fmla="*/ 156231308 h 1194"/>
                <a:gd name="T66" fmla="*/ 704655567 w 1210"/>
                <a:gd name="T67" fmla="*/ 198701602 h 1194"/>
                <a:gd name="T68" fmla="*/ 720762036 w 1210"/>
                <a:gd name="T69" fmla="*/ 266199710 h 1194"/>
                <a:gd name="T70" fmla="*/ 704655567 w 1210"/>
                <a:gd name="T71" fmla="*/ 308670875 h 1194"/>
                <a:gd name="T72" fmla="*/ 750559184 w 1210"/>
                <a:gd name="T73" fmla="*/ 357967000 h 1194"/>
                <a:gd name="T74" fmla="*/ 792435287 w 1210"/>
                <a:gd name="T75" fmla="*/ 400437294 h 1194"/>
                <a:gd name="T76" fmla="*/ 929340276 w 1210"/>
                <a:gd name="T77" fmla="*/ 477036856 h 1194"/>
                <a:gd name="T78" fmla="*/ 948667725 w 1210"/>
                <a:gd name="T79" fmla="*/ 495237912 h 1194"/>
                <a:gd name="T80" fmla="*/ 961553439 w 1210"/>
                <a:gd name="T81" fmla="*/ 523298891 h 1194"/>
                <a:gd name="T82" fmla="*/ 939004337 w 1210"/>
                <a:gd name="T83" fmla="*/ 568803275 h 1194"/>
                <a:gd name="T84" fmla="*/ 912427945 w 1210"/>
                <a:gd name="T85" fmla="*/ 599898344 h 1194"/>
                <a:gd name="T86" fmla="*/ 932561032 w 1210"/>
                <a:gd name="T87" fmla="*/ 663603785 h 1194"/>
                <a:gd name="T88" fmla="*/ 912427945 w 1210"/>
                <a:gd name="T89" fmla="*/ 706832601 h 1194"/>
                <a:gd name="T90" fmla="*/ 886658312 w 1210"/>
                <a:gd name="T91" fmla="*/ 731101838 h 1194"/>
                <a:gd name="T92" fmla="*/ 961553439 w 1210"/>
                <a:gd name="T93" fmla="*/ 749303766 h 1194"/>
                <a:gd name="T94" fmla="*/ 886658312 w 1210"/>
                <a:gd name="T95" fmla="*/ 822869128 h 1194"/>
                <a:gd name="T96" fmla="*/ 734452715 w 1210"/>
                <a:gd name="T97" fmla="*/ 828936438 h 1194"/>
                <a:gd name="T98" fmla="*/ 704655567 w 1210"/>
                <a:gd name="T99" fmla="*/ 856238894 h 1194"/>
                <a:gd name="T100" fmla="*/ 666000220 w 1210"/>
                <a:gd name="T101" fmla="*/ 893400401 h 11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210"/>
                <a:gd name="T154" fmla="*/ 0 h 1194"/>
                <a:gd name="T155" fmla="*/ 1210 w 1210"/>
                <a:gd name="T156" fmla="*/ 1194 h 11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210" h="1194">
                  <a:moveTo>
                    <a:pt x="795" y="1194"/>
                  </a:moveTo>
                  <a:lnTo>
                    <a:pt x="770" y="1186"/>
                  </a:lnTo>
                  <a:lnTo>
                    <a:pt x="734" y="1166"/>
                  </a:lnTo>
                  <a:lnTo>
                    <a:pt x="726" y="1150"/>
                  </a:lnTo>
                  <a:lnTo>
                    <a:pt x="710" y="1138"/>
                  </a:lnTo>
                  <a:lnTo>
                    <a:pt x="706" y="1121"/>
                  </a:lnTo>
                  <a:lnTo>
                    <a:pt x="698" y="1097"/>
                  </a:lnTo>
                  <a:lnTo>
                    <a:pt x="698" y="1081"/>
                  </a:lnTo>
                  <a:lnTo>
                    <a:pt x="698" y="1065"/>
                  </a:lnTo>
                  <a:lnTo>
                    <a:pt x="690" y="1049"/>
                  </a:lnTo>
                  <a:lnTo>
                    <a:pt x="674" y="1037"/>
                  </a:lnTo>
                  <a:lnTo>
                    <a:pt x="661" y="1029"/>
                  </a:lnTo>
                  <a:lnTo>
                    <a:pt x="653" y="1025"/>
                  </a:lnTo>
                  <a:lnTo>
                    <a:pt x="645" y="1012"/>
                  </a:lnTo>
                  <a:lnTo>
                    <a:pt x="633" y="1000"/>
                  </a:lnTo>
                  <a:lnTo>
                    <a:pt x="617" y="1000"/>
                  </a:lnTo>
                  <a:lnTo>
                    <a:pt x="593" y="1000"/>
                  </a:lnTo>
                  <a:lnTo>
                    <a:pt x="585" y="988"/>
                  </a:lnTo>
                  <a:lnTo>
                    <a:pt x="573" y="976"/>
                  </a:lnTo>
                  <a:lnTo>
                    <a:pt x="573" y="940"/>
                  </a:lnTo>
                  <a:lnTo>
                    <a:pt x="569" y="895"/>
                  </a:lnTo>
                  <a:lnTo>
                    <a:pt x="549" y="883"/>
                  </a:lnTo>
                  <a:lnTo>
                    <a:pt x="536" y="875"/>
                  </a:lnTo>
                  <a:lnTo>
                    <a:pt x="520" y="847"/>
                  </a:lnTo>
                  <a:lnTo>
                    <a:pt x="516" y="843"/>
                  </a:lnTo>
                  <a:lnTo>
                    <a:pt x="516" y="839"/>
                  </a:lnTo>
                  <a:lnTo>
                    <a:pt x="520" y="831"/>
                  </a:lnTo>
                  <a:lnTo>
                    <a:pt x="524" y="827"/>
                  </a:lnTo>
                  <a:lnTo>
                    <a:pt x="536" y="815"/>
                  </a:lnTo>
                  <a:lnTo>
                    <a:pt x="536" y="803"/>
                  </a:lnTo>
                  <a:lnTo>
                    <a:pt x="524" y="787"/>
                  </a:lnTo>
                  <a:lnTo>
                    <a:pt x="516" y="783"/>
                  </a:lnTo>
                  <a:lnTo>
                    <a:pt x="464" y="783"/>
                  </a:lnTo>
                  <a:lnTo>
                    <a:pt x="452" y="787"/>
                  </a:lnTo>
                  <a:lnTo>
                    <a:pt x="432" y="795"/>
                  </a:lnTo>
                  <a:lnTo>
                    <a:pt x="403" y="791"/>
                  </a:lnTo>
                  <a:lnTo>
                    <a:pt x="371" y="791"/>
                  </a:lnTo>
                  <a:lnTo>
                    <a:pt x="359" y="787"/>
                  </a:lnTo>
                  <a:lnTo>
                    <a:pt x="347" y="783"/>
                  </a:lnTo>
                  <a:lnTo>
                    <a:pt x="323" y="778"/>
                  </a:lnTo>
                  <a:lnTo>
                    <a:pt x="294" y="774"/>
                  </a:lnTo>
                  <a:lnTo>
                    <a:pt x="290" y="774"/>
                  </a:lnTo>
                  <a:lnTo>
                    <a:pt x="286" y="770"/>
                  </a:lnTo>
                  <a:lnTo>
                    <a:pt x="282" y="750"/>
                  </a:lnTo>
                  <a:lnTo>
                    <a:pt x="270" y="734"/>
                  </a:lnTo>
                  <a:lnTo>
                    <a:pt x="262" y="722"/>
                  </a:lnTo>
                  <a:lnTo>
                    <a:pt x="250" y="706"/>
                  </a:lnTo>
                  <a:lnTo>
                    <a:pt x="234" y="706"/>
                  </a:lnTo>
                  <a:lnTo>
                    <a:pt x="218" y="706"/>
                  </a:lnTo>
                  <a:lnTo>
                    <a:pt x="210" y="722"/>
                  </a:lnTo>
                  <a:lnTo>
                    <a:pt x="198" y="734"/>
                  </a:lnTo>
                  <a:lnTo>
                    <a:pt x="185" y="734"/>
                  </a:lnTo>
                  <a:lnTo>
                    <a:pt x="177" y="734"/>
                  </a:lnTo>
                  <a:lnTo>
                    <a:pt x="165" y="726"/>
                  </a:lnTo>
                  <a:lnTo>
                    <a:pt x="145" y="726"/>
                  </a:lnTo>
                  <a:lnTo>
                    <a:pt x="133" y="726"/>
                  </a:lnTo>
                  <a:lnTo>
                    <a:pt x="125" y="726"/>
                  </a:lnTo>
                  <a:lnTo>
                    <a:pt x="109" y="742"/>
                  </a:lnTo>
                  <a:lnTo>
                    <a:pt x="97" y="750"/>
                  </a:lnTo>
                  <a:lnTo>
                    <a:pt x="89" y="750"/>
                  </a:lnTo>
                  <a:lnTo>
                    <a:pt x="72" y="750"/>
                  </a:lnTo>
                  <a:lnTo>
                    <a:pt x="68" y="742"/>
                  </a:lnTo>
                  <a:lnTo>
                    <a:pt x="64" y="734"/>
                  </a:lnTo>
                  <a:lnTo>
                    <a:pt x="64" y="714"/>
                  </a:lnTo>
                  <a:lnTo>
                    <a:pt x="64" y="698"/>
                  </a:lnTo>
                  <a:lnTo>
                    <a:pt x="72" y="678"/>
                  </a:lnTo>
                  <a:lnTo>
                    <a:pt x="85" y="653"/>
                  </a:lnTo>
                  <a:lnTo>
                    <a:pt x="85" y="625"/>
                  </a:lnTo>
                  <a:lnTo>
                    <a:pt x="85" y="593"/>
                  </a:lnTo>
                  <a:lnTo>
                    <a:pt x="85" y="577"/>
                  </a:lnTo>
                  <a:lnTo>
                    <a:pt x="81" y="557"/>
                  </a:lnTo>
                  <a:lnTo>
                    <a:pt x="72" y="553"/>
                  </a:lnTo>
                  <a:lnTo>
                    <a:pt x="68" y="540"/>
                  </a:lnTo>
                  <a:lnTo>
                    <a:pt x="64" y="528"/>
                  </a:lnTo>
                  <a:lnTo>
                    <a:pt x="48" y="496"/>
                  </a:lnTo>
                  <a:lnTo>
                    <a:pt x="20" y="460"/>
                  </a:lnTo>
                  <a:lnTo>
                    <a:pt x="16" y="444"/>
                  </a:lnTo>
                  <a:lnTo>
                    <a:pt x="4" y="419"/>
                  </a:lnTo>
                  <a:lnTo>
                    <a:pt x="0" y="419"/>
                  </a:lnTo>
                  <a:lnTo>
                    <a:pt x="0" y="411"/>
                  </a:lnTo>
                  <a:lnTo>
                    <a:pt x="0" y="395"/>
                  </a:lnTo>
                  <a:lnTo>
                    <a:pt x="4" y="395"/>
                  </a:lnTo>
                  <a:lnTo>
                    <a:pt x="12" y="395"/>
                  </a:lnTo>
                  <a:lnTo>
                    <a:pt x="16" y="387"/>
                  </a:lnTo>
                  <a:lnTo>
                    <a:pt x="20" y="383"/>
                  </a:lnTo>
                  <a:lnTo>
                    <a:pt x="20" y="375"/>
                  </a:lnTo>
                  <a:lnTo>
                    <a:pt x="48" y="359"/>
                  </a:lnTo>
                  <a:lnTo>
                    <a:pt x="64" y="343"/>
                  </a:lnTo>
                  <a:lnTo>
                    <a:pt x="89" y="339"/>
                  </a:lnTo>
                  <a:lnTo>
                    <a:pt x="109" y="331"/>
                  </a:lnTo>
                  <a:lnTo>
                    <a:pt x="125" y="319"/>
                  </a:lnTo>
                  <a:lnTo>
                    <a:pt x="145" y="302"/>
                  </a:lnTo>
                  <a:lnTo>
                    <a:pt x="161" y="298"/>
                  </a:lnTo>
                  <a:lnTo>
                    <a:pt x="173" y="294"/>
                  </a:lnTo>
                  <a:lnTo>
                    <a:pt x="177" y="286"/>
                  </a:lnTo>
                  <a:lnTo>
                    <a:pt x="185" y="278"/>
                  </a:lnTo>
                  <a:lnTo>
                    <a:pt x="206" y="278"/>
                  </a:lnTo>
                  <a:lnTo>
                    <a:pt x="226" y="274"/>
                  </a:lnTo>
                  <a:lnTo>
                    <a:pt x="242" y="262"/>
                  </a:lnTo>
                  <a:lnTo>
                    <a:pt x="254" y="258"/>
                  </a:lnTo>
                  <a:lnTo>
                    <a:pt x="270" y="242"/>
                  </a:lnTo>
                  <a:lnTo>
                    <a:pt x="286" y="226"/>
                  </a:lnTo>
                  <a:lnTo>
                    <a:pt x="290" y="193"/>
                  </a:lnTo>
                  <a:lnTo>
                    <a:pt x="294" y="153"/>
                  </a:lnTo>
                  <a:lnTo>
                    <a:pt x="302" y="141"/>
                  </a:lnTo>
                  <a:lnTo>
                    <a:pt x="311" y="129"/>
                  </a:lnTo>
                  <a:lnTo>
                    <a:pt x="315" y="113"/>
                  </a:lnTo>
                  <a:lnTo>
                    <a:pt x="319" y="101"/>
                  </a:lnTo>
                  <a:lnTo>
                    <a:pt x="327" y="101"/>
                  </a:lnTo>
                  <a:lnTo>
                    <a:pt x="339" y="93"/>
                  </a:lnTo>
                  <a:lnTo>
                    <a:pt x="359" y="113"/>
                  </a:lnTo>
                  <a:lnTo>
                    <a:pt x="371" y="125"/>
                  </a:lnTo>
                  <a:lnTo>
                    <a:pt x="411" y="137"/>
                  </a:lnTo>
                  <a:lnTo>
                    <a:pt x="427" y="141"/>
                  </a:lnTo>
                  <a:lnTo>
                    <a:pt x="472" y="141"/>
                  </a:lnTo>
                  <a:lnTo>
                    <a:pt x="512" y="141"/>
                  </a:lnTo>
                  <a:lnTo>
                    <a:pt x="540" y="133"/>
                  </a:lnTo>
                  <a:lnTo>
                    <a:pt x="561" y="129"/>
                  </a:lnTo>
                  <a:lnTo>
                    <a:pt x="585" y="125"/>
                  </a:lnTo>
                  <a:lnTo>
                    <a:pt x="605" y="117"/>
                  </a:lnTo>
                  <a:lnTo>
                    <a:pt x="613" y="117"/>
                  </a:lnTo>
                  <a:lnTo>
                    <a:pt x="629" y="113"/>
                  </a:lnTo>
                  <a:lnTo>
                    <a:pt x="649" y="113"/>
                  </a:lnTo>
                  <a:lnTo>
                    <a:pt x="661" y="93"/>
                  </a:lnTo>
                  <a:lnTo>
                    <a:pt x="682" y="76"/>
                  </a:lnTo>
                  <a:lnTo>
                    <a:pt x="682" y="72"/>
                  </a:lnTo>
                  <a:lnTo>
                    <a:pt x="690" y="64"/>
                  </a:lnTo>
                  <a:lnTo>
                    <a:pt x="702" y="44"/>
                  </a:lnTo>
                  <a:lnTo>
                    <a:pt x="714" y="28"/>
                  </a:lnTo>
                  <a:lnTo>
                    <a:pt x="718" y="16"/>
                  </a:lnTo>
                  <a:lnTo>
                    <a:pt x="726" y="8"/>
                  </a:lnTo>
                  <a:lnTo>
                    <a:pt x="730" y="4"/>
                  </a:lnTo>
                  <a:lnTo>
                    <a:pt x="734" y="0"/>
                  </a:lnTo>
                  <a:lnTo>
                    <a:pt x="742" y="0"/>
                  </a:lnTo>
                  <a:lnTo>
                    <a:pt x="754" y="0"/>
                  </a:lnTo>
                  <a:lnTo>
                    <a:pt x="766" y="16"/>
                  </a:lnTo>
                  <a:lnTo>
                    <a:pt x="783" y="32"/>
                  </a:lnTo>
                  <a:lnTo>
                    <a:pt x="799" y="44"/>
                  </a:lnTo>
                  <a:lnTo>
                    <a:pt x="819" y="52"/>
                  </a:lnTo>
                  <a:lnTo>
                    <a:pt x="851" y="52"/>
                  </a:lnTo>
                  <a:lnTo>
                    <a:pt x="887" y="52"/>
                  </a:lnTo>
                  <a:lnTo>
                    <a:pt x="887" y="64"/>
                  </a:lnTo>
                  <a:lnTo>
                    <a:pt x="887" y="76"/>
                  </a:lnTo>
                  <a:lnTo>
                    <a:pt x="899" y="85"/>
                  </a:lnTo>
                  <a:lnTo>
                    <a:pt x="912" y="93"/>
                  </a:lnTo>
                  <a:lnTo>
                    <a:pt x="916" y="101"/>
                  </a:lnTo>
                  <a:lnTo>
                    <a:pt x="924" y="101"/>
                  </a:lnTo>
                  <a:lnTo>
                    <a:pt x="932" y="105"/>
                  </a:lnTo>
                  <a:lnTo>
                    <a:pt x="948" y="117"/>
                  </a:lnTo>
                  <a:lnTo>
                    <a:pt x="956" y="117"/>
                  </a:lnTo>
                  <a:lnTo>
                    <a:pt x="968" y="117"/>
                  </a:lnTo>
                  <a:lnTo>
                    <a:pt x="972" y="125"/>
                  </a:lnTo>
                  <a:lnTo>
                    <a:pt x="984" y="129"/>
                  </a:lnTo>
                  <a:lnTo>
                    <a:pt x="984" y="133"/>
                  </a:lnTo>
                  <a:lnTo>
                    <a:pt x="988" y="137"/>
                  </a:lnTo>
                  <a:lnTo>
                    <a:pt x="988" y="149"/>
                  </a:lnTo>
                  <a:lnTo>
                    <a:pt x="988" y="161"/>
                  </a:lnTo>
                  <a:lnTo>
                    <a:pt x="984" y="165"/>
                  </a:lnTo>
                  <a:lnTo>
                    <a:pt x="976" y="169"/>
                  </a:lnTo>
                  <a:lnTo>
                    <a:pt x="968" y="173"/>
                  </a:lnTo>
                  <a:lnTo>
                    <a:pt x="964" y="177"/>
                  </a:lnTo>
                  <a:lnTo>
                    <a:pt x="952" y="189"/>
                  </a:lnTo>
                  <a:lnTo>
                    <a:pt x="936" y="206"/>
                  </a:lnTo>
                  <a:lnTo>
                    <a:pt x="916" y="210"/>
                  </a:lnTo>
                  <a:lnTo>
                    <a:pt x="904" y="218"/>
                  </a:lnTo>
                  <a:lnTo>
                    <a:pt x="887" y="238"/>
                  </a:lnTo>
                  <a:lnTo>
                    <a:pt x="875" y="250"/>
                  </a:lnTo>
                  <a:lnTo>
                    <a:pt x="875" y="262"/>
                  </a:lnTo>
                  <a:lnTo>
                    <a:pt x="875" y="278"/>
                  </a:lnTo>
                  <a:lnTo>
                    <a:pt x="887" y="286"/>
                  </a:lnTo>
                  <a:lnTo>
                    <a:pt x="895" y="294"/>
                  </a:lnTo>
                  <a:lnTo>
                    <a:pt x="895" y="323"/>
                  </a:lnTo>
                  <a:lnTo>
                    <a:pt x="895" y="351"/>
                  </a:lnTo>
                  <a:lnTo>
                    <a:pt x="879" y="367"/>
                  </a:lnTo>
                  <a:lnTo>
                    <a:pt x="871" y="379"/>
                  </a:lnTo>
                  <a:lnTo>
                    <a:pt x="871" y="383"/>
                  </a:lnTo>
                  <a:lnTo>
                    <a:pt x="871" y="387"/>
                  </a:lnTo>
                  <a:lnTo>
                    <a:pt x="875" y="407"/>
                  </a:lnTo>
                  <a:lnTo>
                    <a:pt x="887" y="432"/>
                  </a:lnTo>
                  <a:lnTo>
                    <a:pt x="899" y="448"/>
                  </a:lnTo>
                  <a:lnTo>
                    <a:pt x="916" y="464"/>
                  </a:lnTo>
                  <a:lnTo>
                    <a:pt x="924" y="468"/>
                  </a:lnTo>
                  <a:lnTo>
                    <a:pt x="932" y="472"/>
                  </a:lnTo>
                  <a:lnTo>
                    <a:pt x="940" y="496"/>
                  </a:lnTo>
                  <a:lnTo>
                    <a:pt x="952" y="524"/>
                  </a:lnTo>
                  <a:lnTo>
                    <a:pt x="956" y="528"/>
                  </a:lnTo>
                  <a:lnTo>
                    <a:pt x="964" y="536"/>
                  </a:lnTo>
                  <a:lnTo>
                    <a:pt x="984" y="528"/>
                  </a:lnTo>
                  <a:lnTo>
                    <a:pt x="1049" y="512"/>
                  </a:lnTo>
                  <a:lnTo>
                    <a:pt x="1057" y="512"/>
                  </a:lnTo>
                  <a:lnTo>
                    <a:pt x="1069" y="512"/>
                  </a:lnTo>
                  <a:lnTo>
                    <a:pt x="1097" y="549"/>
                  </a:lnTo>
                  <a:lnTo>
                    <a:pt x="1154" y="629"/>
                  </a:lnTo>
                  <a:lnTo>
                    <a:pt x="1158" y="629"/>
                  </a:lnTo>
                  <a:lnTo>
                    <a:pt x="1162" y="633"/>
                  </a:lnTo>
                  <a:lnTo>
                    <a:pt x="1162" y="637"/>
                  </a:lnTo>
                  <a:lnTo>
                    <a:pt x="1166" y="649"/>
                  </a:lnTo>
                  <a:lnTo>
                    <a:pt x="1178" y="653"/>
                  </a:lnTo>
                  <a:lnTo>
                    <a:pt x="1190" y="666"/>
                  </a:lnTo>
                  <a:lnTo>
                    <a:pt x="1194" y="674"/>
                  </a:lnTo>
                  <a:lnTo>
                    <a:pt x="1198" y="686"/>
                  </a:lnTo>
                  <a:lnTo>
                    <a:pt x="1198" y="690"/>
                  </a:lnTo>
                  <a:lnTo>
                    <a:pt x="1194" y="690"/>
                  </a:lnTo>
                  <a:lnTo>
                    <a:pt x="1198" y="698"/>
                  </a:lnTo>
                  <a:lnTo>
                    <a:pt x="1206" y="706"/>
                  </a:lnTo>
                  <a:lnTo>
                    <a:pt x="1190" y="726"/>
                  </a:lnTo>
                  <a:lnTo>
                    <a:pt x="1170" y="750"/>
                  </a:lnTo>
                  <a:lnTo>
                    <a:pt x="1166" y="750"/>
                  </a:lnTo>
                  <a:lnTo>
                    <a:pt x="1162" y="750"/>
                  </a:lnTo>
                  <a:lnTo>
                    <a:pt x="1146" y="762"/>
                  </a:lnTo>
                  <a:lnTo>
                    <a:pt x="1129" y="783"/>
                  </a:lnTo>
                  <a:lnTo>
                    <a:pt x="1129" y="787"/>
                  </a:lnTo>
                  <a:lnTo>
                    <a:pt x="1133" y="791"/>
                  </a:lnTo>
                  <a:lnTo>
                    <a:pt x="1146" y="815"/>
                  </a:lnTo>
                  <a:lnTo>
                    <a:pt x="1154" y="843"/>
                  </a:lnTo>
                  <a:lnTo>
                    <a:pt x="1158" y="847"/>
                  </a:lnTo>
                  <a:lnTo>
                    <a:pt x="1158" y="859"/>
                  </a:lnTo>
                  <a:lnTo>
                    <a:pt x="1158" y="875"/>
                  </a:lnTo>
                  <a:lnTo>
                    <a:pt x="1154" y="879"/>
                  </a:lnTo>
                  <a:lnTo>
                    <a:pt x="1150" y="891"/>
                  </a:lnTo>
                  <a:lnTo>
                    <a:pt x="1146" y="908"/>
                  </a:lnTo>
                  <a:lnTo>
                    <a:pt x="1142" y="928"/>
                  </a:lnTo>
                  <a:lnTo>
                    <a:pt x="1133" y="932"/>
                  </a:lnTo>
                  <a:lnTo>
                    <a:pt x="1117" y="940"/>
                  </a:lnTo>
                  <a:lnTo>
                    <a:pt x="1113" y="944"/>
                  </a:lnTo>
                  <a:lnTo>
                    <a:pt x="1101" y="956"/>
                  </a:lnTo>
                  <a:lnTo>
                    <a:pt x="1101" y="960"/>
                  </a:lnTo>
                  <a:lnTo>
                    <a:pt x="1101" y="964"/>
                  </a:lnTo>
                  <a:lnTo>
                    <a:pt x="1105" y="976"/>
                  </a:lnTo>
                  <a:lnTo>
                    <a:pt x="1113" y="988"/>
                  </a:lnTo>
                  <a:lnTo>
                    <a:pt x="1146" y="988"/>
                  </a:lnTo>
                  <a:lnTo>
                    <a:pt x="1190" y="984"/>
                  </a:lnTo>
                  <a:lnTo>
                    <a:pt x="1194" y="988"/>
                  </a:lnTo>
                  <a:lnTo>
                    <a:pt x="1198" y="992"/>
                  </a:lnTo>
                  <a:lnTo>
                    <a:pt x="1206" y="1033"/>
                  </a:lnTo>
                  <a:lnTo>
                    <a:pt x="1210" y="1077"/>
                  </a:lnTo>
                  <a:lnTo>
                    <a:pt x="1158" y="1081"/>
                  </a:lnTo>
                  <a:lnTo>
                    <a:pt x="1101" y="1085"/>
                  </a:lnTo>
                  <a:lnTo>
                    <a:pt x="1057" y="1085"/>
                  </a:lnTo>
                  <a:lnTo>
                    <a:pt x="1012" y="1085"/>
                  </a:lnTo>
                  <a:lnTo>
                    <a:pt x="968" y="1085"/>
                  </a:lnTo>
                  <a:lnTo>
                    <a:pt x="924" y="1089"/>
                  </a:lnTo>
                  <a:lnTo>
                    <a:pt x="912" y="1093"/>
                  </a:lnTo>
                  <a:lnTo>
                    <a:pt x="899" y="1101"/>
                  </a:lnTo>
                  <a:lnTo>
                    <a:pt x="899" y="1109"/>
                  </a:lnTo>
                  <a:lnTo>
                    <a:pt x="887" y="1121"/>
                  </a:lnTo>
                  <a:lnTo>
                    <a:pt x="875" y="1129"/>
                  </a:lnTo>
                  <a:lnTo>
                    <a:pt x="875" y="1134"/>
                  </a:lnTo>
                  <a:lnTo>
                    <a:pt x="871" y="1142"/>
                  </a:lnTo>
                  <a:lnTo>
                    <a:pt x="851" y="1158"/>
                  </a:lnTo>
                  <a:lnTo>
                    <a:pt x="831" y="1170"/>
                  </a:lnTo>
                  <a:lnTo>
                    <a:pt x="827" y="1178"/>
                  </a:lnTo>
                  <a:lnTo>
                    <a:pt x="819" y="1186"/>
                  </a:lnTo>
                  <a:lnTo>
                    <a:pt x="811" y="1194"/>
                  </a:lnTo>
                  <a:lnTo>
                    <a:pt x="795" y="119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27" name="Freeform 35"/>
            <p:cNvSpPr>
              <a:spLocks/>
            </p:cNvSpPr>
            <p:nvPr/>
          </p:nvSpPr>
          <p:spPr bwMode="auto">
            <a:xfrm>
              <a:off x="4762584" y="4000072"/>
              <a:ext cx="896937" cy="844744"/>
            </a:xfrm>
            <a:custGeom>
              <a:avLst/>
              <a:gdLst>
                <a:gd name="T0" fmla="*/ 2147483647 w 997"/>
                <a:gd name="T1" fmla="*/ 2147483647 h 948"/>
                <a:gd name="T2" fmla="*/ 2147483647 w 997"/>
                <a:gd name="T3" fmla="*/ 2147483647 h 948"/>
                <a:gd name="T4" fmla="*/ 2147483647 w 997"/>
                <a:gd name="T5" fmla="*/ 2147483647 h 948"/>
                <a:gd name="T6" fmla="*/ 2147483647 w 997"/>
                <a:gd name="T7" fmla="*/ 2147483647 h 948"/>
                <a:gd name="T8" fmla="*/ 2147483647 w 997"/>
                <a:gd name="T9" fmla="*/ 2147483647 h 948"/>
                <a:gd name="T10" fmla="*/ 2147483647 w 997"/>
                <a:gd name="T11" fmla="*/ 2147483647 h 948"/>
                <a:gd name="T12" fmla="*/ 2147483647 w 997"/>
                <a:gd name="T13" fmla="*/ 2147483647 h 948"/>
                <a:gd name="T14" fmla="*/ 2147483647 w 997"/>
                <a:gd name="T15" fmla="*/ 2147483647 h 948"/>
                <a:gd name="T16" fmla="*/ 2147483647 w 997"/>
                <a:gd name="T17" fmla="*/ 2147483647 h 948"/>
                <a:gd name="T18" fmla="*/ 2147483647 w 997"/>
                <a:gd name="T19" fmla="*/ 2147483647 h 948"/>
                <a:gd name="T20" fmla="*/ 2147483647 w 997"/>
                <a:gd name="T21" fmla="*/ 2147483647 h 948"/>
                <a:gd name="T22" fmla="*/ 0 w 997"/>
                <a:gd name="T23" fmla="*/ 2147483647 h 948"/>
                <a:gd name="T24" fmla="*/ 2147483647 w 997"/>
                <a:gd name="T25" fmla="*/ 2147483647 h 948"/>
                <a:gd name="T26" fmla="*/ 2147483647 w 997"/>
                <a:gd name="T27" fmla="*/ 2147483647 h 948"/>
                <a:gd name="T28" fmla="*/ 2147483647 w 997"/>
                <a:gd name="T29" fmla="*/ 2147483647 h 948"/>
                <a:gd name="T30" fmla="*/ 2147483647 w 997"/>
                <a:gd name="T31" fmla="*/ 2147483647 h 948"/>
                <a:gd name="T32" fmla="*/ 2147483647 w 997"/>
                <a:gd name="T33" fmla="*/ 2147483647 h 948"/>
                <a:gd name="T34" fmla="*/ 2147483647 w 997"/>
                <a:gd name="T35" fmla="*/ 2147483647 h 948"/>
                <a:gd name="T36" fmla="*/ 2147483647 w 997"/>
                <a:gd name="T37" fmla="*/ 2147483647 h 948"/>
                <a:gd name="T38" fmla="*/ 2147483647 w 997"/>
                <a:gd name="T39" fmla="*/ 2147483647 h 948"/>
                <a:gd name="T40" fmla="*/ 2147483647 w 997"/>
                <a:gd name="T41" fmla="*/ 2147483647 h 948"/>
                <a:gd name="T42" fmla="*/ 2147483647 w 997"/>
                <a:gd name="T43" fmla="*/ 2147483647 h 948"/>
                <a:gd name="T44" fmla="*/ 2147483647 w 997"/>
                <a:gd name="T45" fmla="*/ 2147483647 h 948"/>
                <a:gd name="T46" fmla="*/ 2147483647 w 997"/>
                <a:gd name="T47" fmla="*/ 2147483647 h 948"/>
                <a:gd name="T48" fmla="*/ 2147483647 w 997"/>
                <a:gd name="T49" fmla="*/ 2147483647 h 948"/>
                <a:gd name="T50" fmla="*/ 2147483647 w 997"/>
                <a:gd name="T51" fmla="*/ 2147483647 h 948"/>
                <a:gd name="T52" fmla="*/ 2147483647 w 997"/>
                <a:gd name="T53" fmla="*/ 2147483647 h 948"/>
                <a:gd name="T54" fmla="*/ 2147483647 w 997"/>
                <a:gd name="T55" fmla="*/ 2147483647 h 948"/>
                <a:gd name="T56" fmla="*/ 2147483647 w 997"/>
                <a:gd name="T57" fmla="*/ 0 h 948"/>
                <a:gd name="T58" fmla="*/ 2147483647 w 997"/>
                <a:gd name="T59" fmla="*/ 2147483647 h 948"/>
                <a:gd name="T60" fmla="*/ 2147483647 w 997"/>
                <a:gd name="T61" fmla="*/ 2147483647 h 948"/>
                <a:gd name="T62" fmla="*/ 2147483647 w 997"/>
                <a:gd name="T63" fmla="*/ 2147483647 h 948"/>
                <a:gd name="T64" fmla="*/ 2147483647 w 997"/>
                <a:gd name="T65" fmla="*/ 2147483647 h 948"/>
                <a:gd name="T66" fmla="*/ 2147483647 w 997"/>
                <a:gd name="T67" fmla="*/ 2147483647 h 948"/>
                <a:gd name="T68" fmla="*/ 2147483647 w 997"/>
                <a:gd name="T69" fmla="*/ 2147483647 h 948"/>
                <a:gd name="T70" fmla="*/ 2147483647 w 997"/>
                <a:gd name="T71" fmla="*/ 2147483647 h 948"/>
                <a:gd name="T72" fmla="*/ 2147483647 w 997"/>
                <a:gd name="T73" fmla="*/ 2147483647 h 948"/>
                <a:gd name="T74" fmla="*/ 2147483647 w 997"/>
                <a:gd name="T75" fmla="*/ 2147483647 h 948"/>
                <a:gd name="T76" fmla="*/ 2147483647 w 997"/>
                <a:gd name="T77" fmla="*/ 2147483647 h 948"/>
                <a:gd name="T78" fmla="*/ 2147483647 w 997"/>
                <a:gd name="T79" fmla="*/ 2147483647 h 948"/>
                <a:gd name="T80" fmla="*/ 2147483647 w 997"/>
                <a:gd name="T81" fmla="*/ 2147483647 h 948"/>
                <a:gd name="T82" fmla="*/ 2147483647 w 997"/>
                <a:gd name="T83" fmla="*/ 2147483647 h 948"/>
                <a:gd name="T84" fmla="*/ 2147483647 w 997"/>
                <a:gd name="T85" fmla="*/ 2147483647 h 948"/>
                <a:gd name="T86" fmla="*/ 2147483647 w 997"/>
                <a:gd name="T87" fmla="*/ 2147483647 h 948"/>
                <a:gd name="T88" fmla="*/ 2147483647 w 997"/>
                <a:gd name="T89" fmla="*/ 2147483647 h 948"/>
                <a:gd name="T90" fmla="*/ 2147483647 w 997"/>
                <a:gd name="T91" fmla="*/ 2147483647 h 948"/>
                <a:gd name="T92" fmla="*/ 2147483647 w 997"/>
                <a:gd name="T93" fmla="*/ 2147483647 h 948"/>
                <a:gd name="T94" fmla="*/ 2147483647 w 997"/>
                <a:gd name="T95" fmla="*/ 2147483647 h 948"/>
                <a:gd name="T96" fmla="*/ 2147483647 w 997"/>
                <a:gd name="T97" fmla="*/ 2147483647 h 948"/>
                <a:gd name="T98" fmla="*/ 2147483647 w 997"/>
                <a:gd name="T99" fmla="*/ 2147483647 h 948"/>
                <a:gd name="T100" fmla="*/ 2147483647 w 997"/>
                <a:gd name="T101" fmla="*/ 2147483647 h 948"/>
                <a:gd name="T102" fmla="*/ 2147483647 w 997"/>
                <a:gd name="T103" fmla="*/ 2147483647 h 948"/>
                <a:gd name="T104" fmla="*/ 2147483647 w 997"/>
                <a:gd name="T105" fmla="*/ 2147483647 h 948"/>
                <a:gd name="T106" fmla="*/ 2147483647 w 997"/>
                <a:gd name="T107" fmla="*/ 2147483647 h 948"/>
                <a:gd name="T108" fmla="*/ 2147483647 w 997"/>
                <a:gd name="T109" fmla="*/ 2147483647 h 948"/>
                <a:gd name="T110" fmla="*/ 2147483647 w 997"/>
                <a:gd name="T111" fmla="*/ 2147483647 h 948"/>
                <a:gd name="T112" fmla="*/ 2147483647 w 997"/>
                <a:gd name="T113" fmla="*/ 2147483647 h 948"/>
                <a:gd name="T114" fmla="*/ 2147483647 w 997"/>
                <a:gd name="T115" fmla="*/ 2147483647 h 948"/>
                <a:gd name="T116" fmla="*/ 2147483647 w 997"/>
                <a:gd name="T117" fmla="*/ 2147483647 h 948"/>
                <a:gd name="T118" fmla="*/ 2147483647 w 997"/>
                <a:gd name="T119" fmla="*/ 2147483647 h 948"/>
                <a:gd name="T120" fmla="*/ 2147483647 w 997"/>
                <a:gd name="T121" fmla="*/ 2147483647 h 94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97"/>
                <a:gd name="T184" fmla="*/ 0 h 948"/>
                <a:gd name="T185" fmla="*/ 997 w 997"/>
                <a:gd name="T186" fmla="*/ 948 h 94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97" h="948">
                  <a:moveTo>
                    <a:pt x="505" y="948"/>
                  </a:moveTo>
                  <a:lnTo>
                    <a:pt x="505" y="923"/>
                  </a:lnTo>
                  <a:lnTo>
                    <a:pt x="501" y="907"/>
                  </a:lnTo>
                  <a:lnTo>
                    <a:pt x="493" y="891"/>
                  </a:lnTo>
                  <a:lnTo>
                    <a:pt x="489" y="879"/>
                  </a:lnTo>
                  <a:lnTo>
                    <a:pt x="464" y="879"/>
                  </a:lnTo>
                  <a:lnTo>
                    <a:pt x="436" y="879"/>
                  </a:lnTo>
                  <a:lnTo>
                    <a:pt x="432" y="883"/>
                  </a:lnTo>
                  <a:lnTo>
                    <a:pt x="420" y="883"/>
                  </a:lnTo>
                  <a:lnTo>
                    <a:pt x="412" y="879"/>
                  </a:lnTo>
                  <a:lnTo>
                    <a:pt x="408" y="875"/>
                  </a:lnTo>
                  <a:lnTo>
                    <a:pt x="400" y="871"/>
                  </a:lnTo>
                  <a:lnTo>
                    <a:pt x="388" y="863"/>
                  </a:lnTo>
                  <a:lnTo>
                    <a:pt x="380" y="863"/>
                  </a:lnTo>
                  <a:lnTo>
                    <a:pt x="376" y="851"/>
                  </a:lnTo>
                  <a:lnTo>
                    <a:pt x="376" y="839"/>
                  </a:lnTo>
                  <a:lnTo>
                    <a:pt x="376" y="823"/>
                  </a:lnTo>
                  <a:lnTo>
                    <a:pt x="368" y="819"/>
                  </a:lnTo>
                  <a:lnTo>
                    <a:pt x="355" y="819"/>
                  </a:lnTo>
                  <a:lnTo>
                    <a:pt x="347" y="806"/>
                  </a:lnTo>
                  <a:lnTo>
                    <a:pt x="335" y="798"/>
                  </a:lnTo>
                  <a:lnTo>
                    <a:pt x="311" y="790"/>
                  </a:lnTo>
                  <a:lnTo>
                    <a:pt x="295" y="778"/>
                  </a:lnTo>
                  <a:lnTo>
                    <a:pt x="291" y="770"/>
                  </a:lnTo>
                  <a:lnTo>
                    <a:pt x="287" y="758"/>
                  </a:lnTo>
                  <a:lnTo>
                    <a:pt x="271" y="750"/>
                  </a:lnTo>
                  <a:lnTo>
                    <a:pt x="263" y="742"/>
                  </a:lnTo>
                  <a:lnTo>
                    <a:pt x="255" y="734"/>
                  </a:lnTo>
                  <a:lnTo>
                    <a:pt x="242" y="718"/>
                  </a:lnTo>
                  <a:lnTo>
                    <a:pt x="226" y="706"/>
                  </a:lnTo>
                  <a:lnTo>
                    <a:pt x="206" y="693"/>
                  </a:lnTo>
                  <a:lnTo>
                    <a:pt x="202" y="681"/>
                  </a:lnTo>
                  <a:lnTo>
                    <a:pt x="194" y="673"/>
                  </a:lnTo>
                  <a:lnTo>
                    <a:pt x="182" y="669"/>
                  </a:lnTo>
                  <a:lnTo>
                    <a:pt x="174" y="665"/>
                  </a:lnTo>
                  <a:lnTo>
                    <a:pt x="154" y="637"/>
                  </a:lnTo>
                  <a:lnTo>
                    <a:pt x="138" y="617"/>
                  </a:lnTo>
                  <a:lnTo>
                    <a:pt x="129" y="605"/>
                  </a:lnTo>
                  <a:lnTo>
                    <a:pt x="129" y="593"/>
                  </a:lnTo>
                  <a:lnTo>
                    <a:pt x="117" y="581"/>
                  </a:lnTo>
                  <a:lnTo>
                    <a:pt x="101" y="560"/>
                  </a:lnTo>
                  <a:lnTo>
                    <a:pt x="85" y="556"/>
                  </a:lnTo>
                  <a:lnTo>
                    <a:pt x="41" y="544"/>
                  </a:lnTo>
                  <a:lnTo>
                    <a:pt x="17" y="532"/>
                  </a:lnTo>
                  <a:lnTo>
                    <a:pt x="0" y="520"/>
                  </a:lnTo>
                  <a:lnTo>
                    <a:pt x="0" y="488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35"/>
                  </a:lnTo>
                  <a:lnTo>
                    <a:pt x="13" y="427"/>
                  </a:lnTo>
                  <a:lnTo>
                    <a:pt x="25" y="419"/>
                  </a:lnTo>
                  <a:lnTo>
                    <a:pt x="61" y="419"/>
                  </a:lnTo>
                  <a:lnTo>
                    <a:pt x="93" y="419"/>
                  </a:lnTo>
                  <a:lnTo>
                    <a:pt x="105" y="399"/>
                  </a:lnTo>
                  <a:lnTo>
                    <a:pt x="117" y="387"/>
                  </a:lnTo>
                  <a:lnTo>
                    <a:pt x="121" y="363"/>
                  </a:lnTo>
                  <a:lnTo>
                    <a:pt x="125" y="347"/>
                  </a:lnTo>
                  <a:lnTo>
                    <a:pt x="129" y="342"/>
                  </a:lnTo>
                  <a:lnTo>
                    <a:pt x="138" y="334"/>
                  </a:lnTo>
                  <a:lnTo>
                    <a:pt x="166" y="326"/>
                  </a:lnTo>
                  <a:lnTo>
                    <a:pt x="198" y="314"/>
                  </a:lnTo>
                  <a:lnTo>
                    <a:pt x="198" y="310"/>
                  </a:lnTo>
                  <a:lnTo>
                    <a:pt x="202" y="302"/>
                  </a:lnTo>
                  <a:lnTo>
                    <a:pt x="206" y="290"/>
                  </a:lnTo>
                  <a:lnTo>
                    <a:pt x="210" y="278"/>
                  </a:lnTo>
                  <a:lnTo>
                    <a:pt x="210" y="270"/>
                  </a:lnTo>
                  <a:lnTo>
                    <a:pt x="214" y="258"/>
                  </a:lnTo>
                  <a:lnTo>
                    <a:pt x="210" y="234"/>
                  </a:lnTo>
                  <a:lnTo>
                    <a:pt x="198" y="165"/>
                  </a:lnTo>
                  <a:lnTo>
                    <a:pt x="194" y="165"/>
                  </a:lnTo>
                  <a:lnTo>
                    <a:pt x="194" y="149"/>
                  </a:lnTo>
                  <a:lnTo>
                    <a:pt x="198" y="141"/>
                  </a:lnTo>
                  <a:lnTo>
                    <a:pt x="202" y="133"/>
                  </a:lnTo>
                  <a:lnTo>
                    <a:pt x="210" y="125"/>
                  </a:lnTo>
                  <a:lnTo>
                    <a:pt x="218" y="125"/>
                  </a:lnTo>
                  <a:lnTo>
                    <a:pt x="230" y="121"/>
                  </a:lnTo>
                  <a:lnTo>
                    <a:pt x="230" y="117"/>
                  </a:lnTo>
                  <a:lnTo>
                    <a:pt x="234" y="108"/>
                  </a:lnTo>
                  <a:lnTo>
                    <a:pt x="238" y="96"/>
                  </a:lnTo>
                  <a:lnTo>
                    <a:pt x="238" y="84"/>
                  </a:lnTo>
                  <a:lnTo>
                    <a:pt x="246" y="84"/>
                  </a:lnTo>
                  <a:lnTo>
                    <a:pt x="255" y="80"/>
                  </a:lnTo>
                  <a:lnTo>
                    <a:pt x="279" y="80"/>
                  </a:lnTo>
                  <a:lnTo>
                    <a:pt x="307" y="80"/>
                  </a:lnTo>
                  <a:lnTo>
                    <a:pt x="311" y="80"/>
                  </a:lnTo>
                  <a:lnTo>
                    <a:pt x="311" y="84"/>
                  </a:lnTo>
                  <a:lnTo>
                    <a:pt x="327" y="96"/>
                  </a:lnTo>
                  <a:lnTo>
                    <a:pt x="339" y="104"/>
                  </a:lnTo>
                  <a:lnTo>
                    <a:pt x="343" y="108"/>
                  </a:lnTo>
                  <a:lnTo>
                    <a:pt x="343" y="117"/>
                  </a:lnTo>
                  <a:lnTo>
                    <a:pt x="368" y="133"/>
                  </a:lnTo>
                  <a:lnTo>
                    <a:pt x="388" y="149"/>
                  </a:lnTo>
                  <a:lnTo>
                    <a:pt x="400" y="141"/>
                  </a:lnTo>
                  <a:lnTo>
                    <a:pt x="412" y="137"/>
                  </a:lnTo>
                  <a:lnTo>
                    <a:pt x="420" y="129"/>
                  </a:lnTo>
                  <a:lnTo>
                    <a:pt x="424" y="117"/>
                  </a:lnTo>
                  <a:lnTo>
                    <a:pt x="432" y="117"/>
                  </a:lnTo>
                  <a:lnTo>
                    <a:pt x="436" y="117"/>
                  </a:lnTo>
                  <a:lnTo>
                    <a:pt x="440" y="104"/>
                  </a:lnTo>
                  <a:lnTo>
                    <a:pt x="448" y="100"/>
                  </a:lnTo>
                  <a:lnTo>
                    <a:pt x="460" y="92"/>
                  </a:lnTo>
                  <a:lnTo>
                    <a:pt x="472" y="84"/>
                  </a:lnTo>
                  <a:lnTo>
                    <a:pt x="489" y="80"/>
                  </a:lnTo>
                  <a:lnTo>
                    <a:pt x="501" y="76"/>
                  </a:lnTo>
                  <a:lnTo>
                    <a:pt x="505" y="64"/>
                  </a:lnTo>
                  <a:lnTo>
                    <a:pt x="545" y="44"/>
                  </a:lnTo>
                  <a:lnTo>
                    <a:pt x="565" y="40"/>
                  </a:lnTo>
                  <a:lnTo>
                    <a:pt x="589" y="36"/>
                  </a:lnTo>
                  <a:lnTo>
                    <a:pt x="601" y="36"/>
                  </a:lnTo>
                  <a:lnTo>
                    <a:pt x="614" y="36"/>
                  </a:lnTo>
                  <a:lnTo>
                    <a:pt x="626" y="36"/>
                  </a:lnTo>
                  <a:lnTo>
                    <a:pt x="634" y="32"/>
                  </a:lnTo>
                  <a:lnTo>
                    <a:pt x="642" y="16"/>
                  </a:lnTo>
                  <a:lnTo>
                    <a:pt x="646" y="0"/>
                  </a:lnTo>
                  <a:lnTo>
                    <a:pt x="686" y="0"/>
                  </a:lnTo>
                  <a:lnTo>
                    <a:pt x="727" y="0"/>
                  </a:lnTo>
                  <a:lnTo>
                    <a:pt x="759" y="12"/>
                  </a:lnTo>
                  <a:lnTo>
                    <a:pt x="787" y="24"/>
                  </a:lnTo>
                  <a:lnTo>
                    <a:pt x="835" y="32"/>
                  </a:lnTo>
                  <a:lnTo>
                    <a:pt x="864" y="36"/>
                  </a:lnTo>
                  <a:lnTo>
                    <a:pt x="876" y="36"/>
                  </a:lnTo>
                  <a:lnTo>
                    <a:pt x="892" y="36"/>
                  </a:lnTo>
                  <a:lnTo>
                    <a:pt x="920" y="32"/>
                  </a:lnTo>
                  <a:lnTo>
                    <a:pt x="944" y="24"/>
                  </a:lnTo>
                  <a:lnTo>
                    <a:pt x="948" y="24"/>
                  </a:lnTo>
                  <a:lnTo>
                    <a:pt x="956" y="24"/>
                  </a:lnTo>
                  <a:lnTo>
                    <a:pt x="973" y="40"/>
                  </a:lnTo>
                  <a:lnTo>
                    <a:pt x="977" y="48"/>
                  </a:lnTo>
                  <a:lnTo>
                    <a:pt x="981" y="56"/>
                  </a:lnTo>
                  <a:lnTo>
                    <a:pt x="989" y="64"/>
                  </a:lnTo>
                  <a:lnTo>
                    <a:pt x="993" y="72"/>
                  </a:lnTo>
                  <a:lnTo>
                    <a:pt x="993" y="76"/>
                  </a:lnTo>
                  <a:lnTo>
                    <a:pt x="993" y="84"/>
                  </a:lnTo>
                  <a:lnTo>
                    <a:pt x="997" y="125"/>
                  </a:lnTo>
                  <a:lnTo>
                    <a:pt x="997" y="165"/>
                  </a:lnTo>
                  <a:lnTo>
                    <a:pt x="997" y="205"/>
                  </a:lnTo>
                  <a:lnTo>
                    <a:pt x="997" y="246"/>
                  </a:lnTo>
                  <a:lnTo>
                    <a:pt x="997" y="250"/>
                  </a:lnTo>
                  <a:lnTo>
                    <a:pt x="993" y="258"/>
                  </a:lnTo>
                  <a:lnTo>
                    <a:pt x="981" y="258"/>
                  </a:lnTo>
                  <a:lnTo>
                    <a:pt x="973" y="258"/>
                  </a:lnTo>
                  <a:lnTo>
                    <a:pt x="965" y="254"/>
                  </a:lnTo>
                  <a:lnTo>
                    <a:pt x="948" y="250"/>
                  </a:lnTo>
                  <a:lnTo>
                    <a:pt x="944" y="246"/>
                  </a:lnTo>
                  <a:lnTo>
                    <a:pt x="940" y="242"/>
                  </a:lnTo>
                  <a:lnTo>
                    <a:pt x="940" y="234"/>
                  </a:lnTo>
                  <a:lnTo>
                    <a:pt x="936" y="217"/>
                  </a:lnTo>
                  <a:lnTo>
                    <a:pt x="932" y="209"/>
                  </a:lnTo>
                  <a:lnTo>
                    <a:pt x="916" y="185"/>
                  </a:lnTo>
                  <a:lnTo>
                    <a:pt x="912" y="181"/>
                  </a:lnTo>
                  <a:lnTo>
                    <a:pt x="904" y="177"/>
                  </a:lnTo>
                  <a:lnTo>
                    <a:pt x="900" y="177"/>
                  </a:lnTo>
                  <a:lnTo>
                    <a:pt x="888" y="177"/>
                  </a:lnTo>
                  <a:lnTo>
                    <a:pt x="876" y="193"/>
                  </a:lnTo>
                  <a:lnTo>
                    <a:pt x="868" y="197"/>
                  </a:lnTo>
                  <a:lnTo>
                    <a:pt x="864" y="213"/>
                  </a:lnTo>
                  <a:lnTo>
                    <a:pt x="860" y="234"/>
                  </a:lnTo>
                  <a:lnTo>
                    <a:pt x="856" y="242"/>
                  </a:lnTo>
                  <a:lnTo>
                    <a:pt x="852" y="246"/>
                  </a:lnTo>
                  <a:lnTo>
                    <a:pt x="852" y="270"/>
                  </a:lnTo>
                  <a:lnTo>
                    <a:pt x="852" y="302"/>
                  </a:lnTo>
                  <a:lnTo>
                    <a:pt x="856" y="326"/>
                  </a:lnTo>
                  <a:lnTo>
                    <a:pt x="860" y="347"/>
                  </a:lnTo>
                  <a:lnTo>
                    <a:pt x="868" y="363"/>
                  </a:lnTo>
                  <a:lnTo>
                    <a:pt x="876" y="383"/>
                  </a:lnTo>
                  <a:lnTo>
                    <a:pt x="884" y="387"/>
                  </a:lnTo>
                  <a:lnTo>
                    <a:pt x="884" y="399"/>
                  </a:lnTo>
                  <a:lnTo>
                    <a:pt x="884" y="415"/>
                  </a:lnTo>
                  <a:lnTo>
                    <a:pt x="868" y="423"/>
                  </a:lnTo>
                  <a:lnTo>
                    <a:pt x="856" y="435"/>
                  </a:lnTo>
                  <a:lnTo>
                    <a:pt x="852" y="435"/>
                  </a:lnTo>
                  <a:lnTo>
                    <a:pt x="840" y="435"/>
                  </a:lnTo>
                  <a:lnTo>
                    <a:pt x="835" y="427"/>
                  </a:lnTo>
                  <a:lnTo>
                    <a:pt x="831" y="419"/>
                  </a:lnTo>
                  <a:lnTo>
                    <a:pt x="819" y="419"/>
                  </a:lnTo>
                  <a:lnTo>
                    <a:pt x="803" y="423"/>
                  </a:lnTo>
                  <a:lnTo>
                    <a:pt x="799" y="435"/>
                  </a:lnTo>
                  <a:lnTo>
                    <a:pt x="791" y="439"/>
                  </a:lnTo>
                  <a:lnTo>
                    <a:pt x="787" y="451"/>
                  </a:lnTo>
                  <a:lnTo>
                    <a:pt x="783" y="464"/>
                  </a:lnTo>
                  <a:lnTo>
                    <a:pt x="791" y="520"/>
                  </a:lnTo>
                  <a:lnTo>
                    <a:pt x="795" y="556"/>
                  </a:lnTo>
                  <a:lnTo>
                    <a:pt x="799" y="560"/>
                  </a:lnTo>
                  <a:lnTo>
                    <a:pt x="803" y="560"/>
                  </a:lnTo>
                  <a:lnTo>
                    <a:pt x="803" y="576"/>
                  </a:lnTo>
                  <a:lnTo>
                    <a:pt x="807" y="585"/>
                  </a:lnTo>
                  <a:lnTo>
                    <a:pt x="807" y="589"/>
                  </a:lnTo>
                  <a:lnTo>
                    <a:pt x="811" y="593"/>
                  </a:lnTo>
                  <a:lnTo>
                    <a:pt x="819" y="593"/>
                  </a:lnTo>
                  <a:lnTo>
                    <a:pt x="827" y="597"/>
                  </a:lnTo>
                  <a:lnTo>
                    <a:pt x="827" y="601"/>
                  </a:lnTo>
                  <a:lnTo>
                    <a:pt x="831" y="609"/>
                  </a:lnTo>
                  <a:lnTo>
                    <a:pt x="848" y="629"/>
                  </a:lnTo>
                  <a:lnTo>
                    <a:pt x="864" y="653"/>
                  </a:lnTo>
                  <a:lnTo>
                    <a:pt x="872" y="657"/>
                  </a:lnTo>
                  <a:lnTo>
                    <a:pt x="884" y="665"/>
                  </a:lnTo>
                  <a:lnTo>
                    <a:pt x="888" y="673"/>
                  </a:lnTo>
                  <a:lnTo>
                    <a:pt x="892" y="681"/>
                  </a:lnTo>
                  <a:lnTo>
                    <a:pt x="904" y="681"/>
                  </a:lnTo>
                  <a:lnTo>
                    <a:pt x="912" y="689"/>
                  </a:lnTo>
                  <a:lnTo>
                    <a:pt x="916" y="698"/>
                  </a:lnTo>
                  <a:lnTo>
                    <a:pt x="924" y="702"/>
                  </a:lnTo>
                  <a:lnTo>
                    <a:pt x="924" y="706"/>
                  </a:lnTo>
                  <a:lnTo>
                    <a:pt x="920" y="710"/>
                  </a:lnTo>
                  <a:lnTo>
                    <a:pt x="904" y="710"/>
                  </a:lnTo>
                  <a:lnTo>
                    <a:pt x="876" y="710"/>
                  </a:lnTo>
                  <a:lnTo>
                    <a:pt x="872" y="706"/>
                  </a:lnTo>
                  <a:lnTo>
                    <a:pt x="864" y="698"/>
                  </a:lnTo>
                  <a:lnTo>
                    <a:pt x="860" y="698"/>
                  </a:lnTo>
                  <a:lnTo>
                    <a:pt x="856" y="693"/>
                  </a:lnTo>
                  <a:lnTo>
                    <a:pt x="819" y="693"/>
                  </a:lnTo>
                  <a:lnTo>
                    <a:pt x="783" y="693"/>
                  </a:lnTo>
                  <a:lnTo>
                    <a:pt x="759" y="698"/>
                  </a:lnTo>
                  <a:lnTo>
                    <a:pt x="751" y="702"/>
                  </a:lnTo>
                  <a:lnTo>
                    <a:pt x="751" y="730"/>
                  </a:lnTo>
                  <a:lnTo>
                    <a:pt x="747" y="742"/>
                  </a:lnTo>
                  <a:lnTo>
                    <a:pt x="747" y="758"/>
                  </a:lnTo>
                  <a:lnTo>
                    <a:pt x="747" y="778"/>
                  </a:lnTo>
                  <a:lnTo>
                    <a:pt x="751" y="790"/>
                  </a:lnTo>
                  <a:lnTo>
                    <a:pt x="751" y="802"/>
                  </a:lnTo>
                  <a:lnTo>
                    <a:pt x="747" y="806"/>
                  </a:lnTo>
                  <a:lnTo>
                    <a:pt x="743" y="810"/>
                  </a:lnTo>
                  <a:lnTo>
                    <a:pt x="739" y="823"/>
                  </a:lnTo>
                  <a:lnTo>
                    <a:pt x="735" y="831"/>
                  </a:lnTo>
                  <a:lnTo>
                    <a:pt x="727" y="831"/>
                  </a:lnTo>
                  <a:lnTo>
                    <a:pt x="718" y="831"/>
                  </a:lnTo>
                  <a:lnTo>
                    <a:pt x="714" y="823"/>
                  </a:lnTo>
                  <a:lnTo>
                    <a:pt x="706" y="806"/>
                  </a:lnTo>
                  <a:lnTo>
                    <a:pt x="690" y="806"/>
                  </a:lnTo>
                  <a:lnTo>
                    <a:pt x="678" y="806"/>
                  </a:lnTo>
                  <a:lnTo>
                    <a:pt x="670" y="806"/>
                  </a:lnTo>
                  <a:lnTo>
                    <a:pt x="662" y="806"/>
                  </a:lnTo>
                  <a:lnTo>
                    <a:pt x="654" y="806"/>
                  </a:lnTo>
                  <a:lnTo>
                    <a:pt x="634" y="819"/>
                  </a:lnTo>
                  <a:lnTo>
                    <a:pt x="610" y="827"/>
                  </a:lnTo>
                  <a:lnTo>
                    <a:pt x="601" y="843"/>
                  </a:lnTo>
                  <a:lnTo>
                    <a:pt x="593" y="851"/>
                  </a:lnTo>
                  <a:lnTo>
                    <a:pt x="593" y="883"/>
                  </a:lnTo>
                  <a:lnTo>
                    <a:pt x="589" y="911"/>
                  </a:lnTo>
                  <a:lnTo>
                    <a:pt x="581" y="915"/>
                  </a:lnTo>
                  <a:lnTo>
                    <a:pt x="573" y="919"/>
                  </a:lnTo>
                  <a:lnTo>
                    <a:pt x="573" y="927"/>
                  </a:lnTo>
                  <a:lnTo>
                    <a:pt x="569" y="940"/>
                  </a:lnTo>
                  <a:lnTo>
                    <a:pt x="557" y="940"/>
                  </a:lnTo>
                  <a:lnTo>
                    <a:pt x="553" y="940"/>
                  </a:lnTo>
                  <a:lnTo>
                    <a:pt x="529" y="948"/>
                  </a:lnTo>
                  <a:lnTo>
                    <a:pt x="505" y="94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28" name="Freeform 36"/>
            <p:cNvSpPr>
              <a:spLocks/>
            </p:cNvSpPr>
            <p:nvPr/>
          </p:nvSpPr>
          <p:spPr bwMode="auto">
            <a:xfrm>
              <a:off x="6724734" y="3453663"/>
              <a:ext cx="673100" cy="1074983"/>
            </a:xfrm>
            <a:custGeom>
              <a:avLst/>
              <a:gdLst>
                <a:gd name="T0" fmla="*/ 383392363 w 750"/>
                <a:gd name="T1" fmla="*/ 901830837 h 1207"/>
                <a:gd name="T2" fmla="*/ 360839930 w 750"/>
                <a:gd name="T3" fmla="*/ 880539911 h 1207"/>
                <a:gd name="T4" fmla="*/ 321372949 w 750"/>
                <a:gd name="T5" fmla="*/ 856206553 h 1207"/>
                <a:gd name="T6" fmla="*/ 292376708 w 750"/>
                <a:gd name="T7" fmla="*/ 834915628 h 1207"/>
                <a:gd name="T8" fmla="*/ 279489988 w 750"/>
                <a:gd name="T9" fmla="*/ 812864312 h 1207"/>
                <a:gd name="T10" fmla="*/ 249688720 w 750"/>
                <a:gd name="T11" fmla="*/ 797656508 h 1207"/>
                <a:gd name="T12" fmla="*/ 159478036 w 750"/>
                <a:gd name="T13" fmla="*/ 788531826 h 1207"/>
                <a:gd name="T14" fmla="*/ 120011952 w 750"/>
                <a:gd name="T15" fmla="*/ 761156907 h 1207"/>
                <a:gd name="T16" fmla="*/ 78128066 w 750"/>
                <a:gd name="T17" fmla="*/ 742907542 h 1207"/>
                <a:gd name="T18" fmla="*/ 54770592 w 750"/>
                <a:gd name="T19" fmla="*/ 723897787 h 1207"/>
                <a:gd name="T20" fmla="*/ 48326783 w 750"/>
                <a:gd name="T21" fmla="*/ 684357497 h 1207"/>
                <a:gd name="T22" fmla="*/ 41882975 w 750"/>
                <a:gd name="T23" fmla="*/ 622765019 h 1207"/>
                <a:gd name="T24" fmla="*/ 51548688 w 750"/>
                <a:gd name="T25" fmla="*/ 542923177 h 1207"/>
                <a:gd name="T26" fmla="*/ 41882975 w 750"/>
                <a:gd name="T27" fmla="*/ 460040646 h 1207"/>
                <a:gd name="T28" fmla="*/ 16108631 w 750"/>
                <a:gd name="T29" fmla="*/ 420499375 h 1207"/>
                <a:gd name="T30" fmla="*/ 0 w 750"/>
                <a:gd name="T31" fmla="*/ 384000645 h 1207"/>
                <a:gd name="T32" fmla="*/ 22552440 w 750"/>
                <a:gd name="T33" fmla="*/ 334574411 h 1207"/>
                <a:gd name="T34" fmla="*/ 57992496 w 750"/>
                <a:gd name="T35" fmla="*/ 272982805 h 1207"/>
                <a:gd name="T36" fmla="*/ 68463250 w 750"/>
                <a:gd name="T37" fmla="*/ 206067541 h 1207"/>
                <a:gd name="T38" fmla="*/ 132898672 w 750"/>
                <a:gd name="T39" fmla="*/ 193140908 h 1207"/>
                <a:gd name="T40" fmla="*/ 149007296 w 750"/>
                <a:gd name="T41" fmla="*/ 153599746 h 1207"/>
                <a:gd name="T42" fmla="*/ 178809462 w 750"/>
                <a:gd name="T43" fmla="*/ 153599746 h 1207"/>
                <a:gd name="T44" fmla="*/ 198139990 w 750"/>
                <a:gd name="T45" fmla="*/ 165766861 h 1207"/>
                <a:gd name="T46" fmla="*/ 253715651 w 750"/>
                <a:gd name="T47" fmla="*/ 162725300 h 1207"/>
                <a:gd name="T48" fmla="*/ 276268084 w 750"/>
                <a:gd name="T49" fmla="*/ 135350381 h 1207"/>
                <a:gd name="T50" fmla="*/ 311708133 w 750"/>
                <a:gd name="T51" fmla="*/ 117101016 h 1207"/>
                <a:gd name="T52" fmla="*/ 351174217 w 750"/>
                <a:gd name="T53" fmla="*/ 107976307 h 1207"/>
                <a:gd name="T54" fmla="*/ 373727547 w 750"/>
                <a:gd name="T55" fmla="*/ 67675627 h 1207"/>
                <a:gd name="T56" fmla="*/ 438162940 w 750"/>
                <a:gd name="T57" fmla="*/ 40300694 h 1207"/>
                <a:gd name="T58" fmla="*/ 455077489 w 750"/>
                <a:gd name="T59" fmla="*/ 0 h 1207"/>
                <a:gd name="T60" fmla="*/ 490516754 w 750"/>
                <a:gd name="T61" fmla="*/ 9124686 h 1207"/>
                <a:gd name="T62" fmla="*/ 519512995 w 750"/>
                <a:gd name="T63" fmla="*/ 31176012 h 1207"/>
                <a:gd name="T64" fmla="*/ 552536167 w 750"/>
                <a:gd name="T65" fmla="*/ 49425376 h 1207"/>
                <a:gd name="T66" fmla="*/ 591198121 w 750"/>
                <a:gd name="T67" fmla="*/ 70717187 h 1207"/>
                <a:gd name="T68" fmla="*/ 600862937 w 750"/>
                <a:gd name="T69" fmla="*/ 117101016 h 1207"/>
                <a:gd name="T70" fmla="*/ 587976217 w 750"/>
                <a:gd name="T71" fmla="*/ 144475063 h 1207"/>
                <a:gd name="T72" fmla="*/ 575088600 w 750"/>
                <a:gd name="T73" fmla="*/ 174891543 h 1207"/>
                <a:gd name="T74" fmla="*/ 587976217 w 750"/>
                <a:gd name="T75" fmla="*/ 248649447 h 1207"/>
                <a:gd name="T76" fmla="*/ 587976217 w 750"/>
                <a:gd name="T77" fmla="*/ 334574411 h 1207"/>
                <a:gd name="T78" fmla="*/ 571866696 w 750"/>
                <a:gd name="T79" fmla="*/ 402250010 h 1207"/>
                <a:gd name="T80" fmla="*/ 555758072 w 750"/>
                <a:gd name="T81" fmla="*/ 460040646 h 1207"/>
                <a:gd name="T82" fmla="*/ 558979976 w 750"/>
                <a:gd name="T83" fmla="*/ 568016925 h 1207"/>
                <a:gd name="T84" fmla="*/ 549314263 w 750"/>
                <a:gd name="T85" fmla="*/ 634931262 h 1207"/>
                <a:gd name="T86" fmla="*/ 597641032 w 750"/>
                <a:gd name="T87" fmla="*/ 663065700 h 1207"/>
                <a:gd name="T88" fmla="*/ 600862937 w 750"/>
                <a:gd name="T89" fmla="*/ 678274376 h 1207"/>
                <a:gd name="T90" fmla="*/ 536427543 w 750"/>
                <a:gd name="T91" fmla="*/ 702606862 h 1207"/>
                <a:gd name="T92" fmla="*/ 503404371 w 750"/>
                <a:gd name="T93" fmla="*/ 705648423 h 1207"/>
                <a:gd name="T94" fmla="*/ 484073843 w 750"/>
                <a:gd name="T95" fmla="*/ 770281589 h 1207"/>
                <a:gd name="T96" fmla="*/ 477630034 w 750"/>
                <a:gd name="T97" fmla="*/ 788531826 h 1207"/>
                <a:gd name="T98" fmla="*/ 477630034 w 750"/>
                <a:gd name="T99" fmla="*/ 815905873 h 1207"/>
                <a:gd name="T100" fmla="*/ 519512995 w 750"/>
                <a:gd name="T101" fmla="*/ 809822751 h 1207"/>
                <a:gd name="T102" fmla="*/ 532399714 w 750"/>
                <a:gd name="T103" fmla="*/ 819707824 h 1207"/>
                <a:gd name="T104" fmla="*/ 477630034 w 750"/>
                <a:gd name="T105" fmla="*/ 834915628 h 1207"/>
                <a:gd name="T106" fmla="*/ 438162940 w 750"/>
                <a:gd name="T107" fmla="*/ 850123431 h 1207"/>
                <a:gd name="T108" fmla="*/ 422054317 w 750"/>
                <a:gd name="T109" fmla="*/ 874456790 h 1207"/>
                <a:gd name="T110" fmla="*/ 428497228 w 750"/>
                <a:gd name="T111" fmla="*/ 889664594 h 1207"/>
                <a:gd name="T112" fmla="*/ 442189872 w 750"/>
                <a:gd name="T113" fmla="*/ 911715909 h 1207"/>
                <a:gd name="T114" fmla="*/ 405944795 w 750"/>
                <a:gd name="T115" fmla="*/ 917799249 h 120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50"/>
                <a:gd name="T175" fmla="*/ 0 h 1207"/>
                <a:gd name="T176" fmla="*/ 750 w 750"/>
                <a:gd name="T177" fmla="*/ 1207 h 120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50" h="1207">
                  <a:moveTo>
                    <a:pt x="504" y="1207"/>
                  </a:moveTo>
                  <a:lnTo>
                    <a:pt x="496" y="1199"/>
                  </a:lnTo>
                  <a:lnTo>
                    <a:pt x="480" y="1195"/>
                  </a:lnTo>
                  <a:lnTo>
                    <a:pt x="476" y="1186"/>
                  </a:lnTo>
                  <a:lnTo>
                    <a:pt x="472" y="1174"/>
                  </a:lnTo>
                  <a:lnTo>
                    <a:pt x="464" y="1170"/>
                  </a:lnTo>
                  <a:lnTo>
                    <a:pt x="448" y="1162"/>
                  </a:lnTo>
                  <a:lnTo>
                    <a:pt x="448" y="1158"/>
                  </a:lnTo>
                  <a:lnTo>
                    <a:pt x="444" y="1154"/>
                  </a:lnTo>
                  <a:lnTo>
                    <a:pt x="436" y="1142"/>
                  </a:lnTo>
                  <a:lnTo>
                    <a:pt x="419" y="1134"/>
                  </a:lnTo>
                  <a:lnTo>
                    <a:pt x="399" y="1126"/>
                  </a:lnTo>
                  <a:lnTo>
                    <a:pt x="383" y="1118"/>
                  </a:lnTo>
                  <a:lnTo>
                    <a:pt x="371" y="1114"/>
                  </a:lnTo>
                  <a:lnTo>
                    <a:pt x="367" y="1110"/>
                  </a:lnTo>
                  <a:lnTo>
                    <a:pt x="363" y="1098"/>
                  </a:lnTo>
                  <a:lnTo>
                    <a:pt x="359" y="1086"/>
                  </a:lnTo>
                  <a:lnTo>
                    <a:pt x="359" y="1078"/>
                  </a:lnTo>
                  <a:lnTo>
                    <a:pt x="355" y="1073"/>
                  </a:lnTo>
                  <a:lnTo>
                    <a:pt x="347" y="1069"/>
                  </a:lnTo>
                  <a:lnTo>
                    <a:pt x="343" y="1069"/>
                  </a:lnTo>
                  <a:lnTo>
                    <a:pt x="335" y="1061"/>
                  </a:lnTo>
                  <a:lnTo>
                    <a:pt x="331" y="1049"/>
                  </a:lnTo>
                  <a:lnTo>
                    <a:pt x="310" y="1049"/>
                  </a:lnTo>
                  <a:lnTo>
                    <a:pt x="298" y="1041"/>
                  </a:lnTo>
                  <a:lnTo>
                    <a:pt x="242" y="1041"/>
                  </a:lnTo>
                  <a:lnTo>
                    <a:pt x="206" y="1049"/>
                  </a:lnTo>
                  <a:lnTo>
                    <a:pt x="198" y="1037"/>
                  </a:lnTo>
                  <a:lnTo>
                    <a:pt x="185" y="1033"/>
                  </a:lnTo>
                  <a:lnTo>
                    <a:pt x="173" y="1017"/>
                  </a:lnTo>
                  <a:lnTo>
                    <a:pt x="161" y="1005"/>
                  </a:lnTo>
                  <a:lnTo>
                    <a:pt x="149" y="1001"/>
                  </a:lnTo>
                  <a:lnTo>
                    <a:pt x="145" y="997"/>
                  </a:lnTo>
                  <a:lnTo>
                    <a:pt x="121" y="993"/>
                  </a:lnTo>
                  <a:lnTo>
                    <a:pt x="101" y="989"/>
                  </a:lnTo>
                  <a:lnTo>
                    <a:pt x="97" y="977"/>
                  </a:lnTo>
                  <a:lnTo>
                    <a:pt x="85" y="969"/>
                  </a:lnTo>
                  <a:lnTo>
                    <a:pt x="81" y="969"/>
                  </a:lnTo>
                  <a:lnTo>
                    <a:pt x="72" y="965"/>
                  </a:lnTo>
                  <a:lnTo>
                    <a:pt x="68" y="952"/>
                  </a:lnTo>
                  <a:lnTo>
                    <a:pt x="68" y="936"/>
                  </a:lnTo>
                  <a:lnTo>
                    <a:pt x="64" y="928"/>
                  </a:lnTo>
                  <a:lnTo>
                    <a:pt x="64" y="924"/>
                  </a:lnTo>
                  <a:lnTo>
                    <a:pt x="60" y="900"/>
                  </a:lnTo>
                  <a:lnTo>
                    <a:pt x="60" y="872"/>
                  </a:lnTo>
                  <a:lnTo>
                    <a:pt x="56" y="864"/>
                  </a:lnTo>
                  <a:lnTo>
                    <a:pt x="52" y="831"/>
                  </a:lnTo>
                  <a:lnTo>
                    <a:pt x="52" y="819"/>
                  </a:lnTo>
                  <a:lnTo>
                    <a:pt x="52" y="807"/>
                  </a:lnTo>
                  <a:lnTo>
                    <a:pt x="56" y="779"/>
                  </a:lnTo>
                  <a:lnTo>
                    <a:pt x="64" y="747"/>
                  </a:lnTo>
                  <a:lnTo>
                    <a:pt x="64" y="714"/>
                  </a:lnTo>
                  <a:lnTo>
                    <a:pt x="64" y="686"/>
                  </a:lnTo>
                  <a:lnTo>
                    <a:pt x="60" y="650"/>
                  </a:lnTo>
                  <a:lnTo>
                    <a:pt x="56" y="614"/>
                  </a:lnTo>
                  <a:lnTo>
                    <a:pt x="52" y="605"/>
                  </a:lnTo>
                  <a:lnTo>
                    <a:pt x="48" y="593"/>
                  </a:lnTo>
                  <a:lnTo>
                    <a:pt x="36" y="581"/>
                  </a:lnTo>
                  <a:lnTo>
                    <a:pt x="20" y="573"/>
                  </a:lnTo>
                  <a:lnTo>
                    <a:pt x="20" y="553"/>
                  </a:lnTo>
                  <a:lnTo>
                    <a:pt x="12" y="537"/>
                  </a:lnTo>
                  <a:lnTo>
                    <a:pt x="4" y="529"/>
                  </a:lnTo>
                  <a:lnTo>
                    <a:pt x="0" y="529"/>
                  </a:lnTo>
                  <a:lnTo>
                    <a:pt x="0" y="505"/>
                  </a:lnTo>
                  <a:lnTo>
                    <a:pt x="0" y="476"/>
                  </a:lnTo>
                  <a:lnTo>
                    <a:pt x="8" y="468"/>
                  </a:lnTo>
                  <a:lnTo>
                    <a:pt x="20" y="460"/>
                  </a:lnTo>
                  <a:lnTo>
                    <a:pt x="28" y="440"/>
                  </a:lnTo>
                  <a:lnTo>
                    <a:pt x="44" y="420"/>
                  </a:lnTo>
                  <a:lnTo>
                    <a:pt x="52" y="408"/>
                  </a:lnTo>
                  <a:lnTo>
                    <a:pt x="68" y="380"/>
                  </a:lnTo>
                  <a:lnTo>
                    <a:pt x="72" y="359"/>
                  </a:lnTo>
                  <a:lnTo>
                    <a:pt x="72" y="311"/>
                  </a:lnTo>
                  <a:lnTo>
                    <a:pt x="68" y="295"/>
                  </a:lnTo>
                  <a:lnTo>
                    <a:pt x="68" y="275"/>
                  </a:lnTo>
                  <a:lnTo>
                    <a:pt x="85" y="271"/>
                  </a:lnTo>
                  <a:lnTo>
                    <a:pt x="97" y="263"/>
                  </a:lnTo>
                  <a:lnTo>
                    <a:pt x="133" y="263"/>
                  </a:lnTo>
                  <a:lnTo>
                    <a:pt x="161" y="259"/>
                  </a:lnTo>
                  <a:lnTo>
                    <a:pt x="165" y="254"/>
                  </a:lnTo>
                  <a:lnTo>
                    <a:pt x="169" y="250"/>
                  </a:lnTo>
                  <a:lnTo>
                    <a:pt x="173" y="230"/>
                  </a:lnTo>
                  <a:lnTo>
                    <a:pt x="177" y="206"/>
                  </a:lnTo>
                  <a:lnTo>
                    <a:pt x="185" y="202"/>
                  </a:lnTo>
                  <a:lnTo>
                    <a:pt x="194" y="198"/>
                  </a:lnTo>
                  <a:lnTo>
                    <a:pt x="202" y="198"/>
                  </a:lnTo>
                  <a:lnTo>
                    <a:pt x="218" y="198"/>
                  </a:lnTo>
                  <a:lnTo>
                    <a:pt x="222" y="202"/>
                  </a:lnTo>
                  <a:lnTo>
                    <a:pt x="226" y="206"/>
                  </a:lnTo>
                  <a:lnTo>
                    <a:pt x="230" y="210"/>
                  </a:lnTo>
                  <a:lnTo>
                    <a:pt x="234" y="214"/>
                  </a:lnTo>
                  <a:lnTo>
                    <a:pt x="246" y="218"/>
                  </a:lnTo>
                  <a:lnTo>
                    <a:pt x="250" y="222"/>
                  </a:lnTo>
                  <a:lnTo>
                    <a:pt x="286" y="222"/>
                  </a:lnTo>
                  <a:lnTo>
                    <a:pt x="306" y="218"/>
                  </a:lnTo>
                  <a:lnTo>
                    <a:pt x="315" y="214"/>
                  </a:lnTo>
                  <a:lnTo>
                    <a:pt x="319" y="206"/>
                  </a:lnTo>
                  <a:lnTo>
                    <a:pt x="331" y="198"/>
                  </a:lnTo>
                  <a:lnTo>
                    <a:pt x="335" y="194"/>
                  </a:lnTo>
                  <a:lnTo>
                    <a:pt x="343" y="178"/>
                  </a:lnTo>
                  <a:lnTo>
                    <a:pt x="351" y="166"/>
                  </a:lnTo>
                  <a:lnTo>
                    <a:pt x="359" y="158"/>
                  </a:lnTo>
                  <a:lnTo>
                    <a:pt x="371" y="154"/>
                  </a:lnTo>
                  <a:lnTo>
                    <a:pt x="387" y="154"/>
                  </a:lnTo>
                  <a:lnTo>
                    <a:pt x="399" y="154"/>
                  </a:lnTo>
                  <a:lnTo>
                    <a:pt x="411" y="154"/>
                  </a:lnTo>
                  <a:lnTo>
                    <a:pt x="423" y="150"/>
                  </a:lnTo>
                  <a:lnTo>
                    <a:pt x="436" y="142"/>
                  </a:lnTo>
                  <a:lnTo>
                    <a:pt x="444" y="137"/>
                  </a:lnTo>
                  <a:lnTo>
                    <a:pt x="448" y="121"/>
                  </a:lnTo>
                  <a:lnTo>
                    <a:pt x="460" y="113"/>
                  </a:lnTo>
                  <a:lnTo>
                    <a:pt x="464" y="89"/>
                  </a:lnTo>
                  <a:lnTo>
                    <a:pt x="468" y="73"/>
                  </a:lnTo>
                  <a:lnTo>
                    <a:pt x="496" y="73"/>
                  </a:lnTo>
                  <a:lnTo>
                    <a:pt x="524" y="65"/>
                  </a:lnTo>
                  <a:lnTo>
                    <a:pt x="544" y="53"/>
                  </a:lnTo>
                  <a:lnTo>
                    <a:pt x="553" y="41"/>
                  </a:lnTo>
                  <a:lnTo>
                    <a:pt x="557" y="16"/>
                  </a:lnTo>
                  <a:lnTo>
                    <a:pt x="557" y="0"/>
                  </a:lnTo>
                  <a:lnTo>
                    <a:pt x="565" y="0"/>
                  </a:lnTo>
                  <a:lnTo>
                    <a:pt x="581" y="0"/>
                  </a:lnTo>
                  <a:lnTo>
                    <a:pt x="585" y="4"/>
                  </a:lnTo>
                  <a:lnTo>
                    <a:pt x="593" y="8"/>
                  </a:lnTo>
                  <a:lnTo>
                    <a:pt x="609" y="12"/>
                  </a:lnTo>
                  <a:lnTo>
                    <a:pt x="629" y="16"/>
                  </a:lnTo>
                  <a:lnTo>
                    <a:pt x="641" y="29"/>
                  </a:lnTo>
                  <a:lnTo>
                    <a:pt x="645" y="41"/>
                  </a:lnTo>
                  <a:lnTo>
                    <a:pt x="653" y="45"/>
                  </a:lnTo>
                  <a:lnTo>
                    <a:pt x="661" y="53"/>
                  </a:lnTo>
                  <a:lnTo>
                    <a:pt x="670" y="65"/>
                  </a:lnTo>
                  <a:lnTo>
                    <a:pt x="686" y="65"/>
                  </a:lnTo>
                  <a:lnTo>
                    <a:pt x="722" y="73"/>
                  </a:lnTo>
                  <a:lnTo>
                    <a:pt x="722" y="77"/>
                  </a:lnTo>
                  <a:lnTo>
                    <a:pt x="730" y="85"/>
                  </a:lnTo>
                  <a:lnTo>
                    <a:pt x="734" y="93"/>
                  </a:lnTo>
                  <a:lnTo>
                    <a:pt x="750" y="117"/>
                  </a:lnTo>
                  <a:lnTo>
                    <a:pt x="750" y="125"/>
                  </a:lnTo>
                  <a:lnTo>
                    <a:pt x="750" y="137"/>
                  </a:lnTo>
                  <a:lnTo>
                    <a:pt x="746" y="154"/>
                  </a:lnTo>
                  <a:lnTo>
                    <a:pt x="734" y="166"/>
                  </a:lnTo>
                  <a:lnTo>
                    <a:pt x="730" y="170"/>
                  </a:lnTo>
                  <a:lnTo>
                    <a:pt x="730" y="174"/>
                  </a:lnTo>
                  <a:lnTo>
                    <a:pt x="730" y="190"/>
                  </a:lnTo>
                  <a:lnTo>
                    <a:pt x="722" y="206"/>
                  </a:lnTo>
                  <a:lnTo>
                    <a:pt x="718" y="210"/>
                  </a:lnTo>
                  <a:lnTo>
                    <a:pt x="714" y="214"/>
                  </a:lnTo>
                  <a:lnTo>
                    <a:pt x="714" y="230"/>
                  </a:lnTo>
                  <a:lnTo>
                    <a:pt x="714" y="250"/>
                  </a:lnTo>
                  <a:lnTo>
                    <a:pt x="718" y="259"/>
                  </a:lnTo>
                  <a:lnTo>
                    <a:pt x="722" y="271"/>
                  </a:lnTo>
                  <a:lnTo>
                    <a:pt x="730" y="327"/>
                  </a:lnTo>
                  <a:lnTo>
                    <a:pt x="730" y="355"/>
                  </a:lnTo>
                  <a:lnTo>
                    <a:pt x="730" y="367"/>
                  </a:lnTo>
                  <a:lnTo>
                    <a:pt x="730" y="380"/>
                  </a:lnTo>
                  <a:lnTo>
                    <a:pt x="730" y="440"/>
                  </a:lnTo>
                  <a:lnTo>
                    <a:pt x="730" y="493"/>
                  </a:lnTo>
                  <a:lnTo>
                    <a:pt x="722" y="505"/>
                  </a:lnTo>
                  <a:lnTo>
                    <a:pt x="714" y="525"/>
                  </a:lnTo>
                  <a:lnTo>
                    <a:pt x="710" y="529"/>
                  </a:lnTo>
                  <a:lnTo>
                    <a:pt x="698" y="529"/>
                  </a:lnTo>
                  <a:lnTo>
                    <a:pt x="694" y="549"/>
                  </a:lnTo>
                  <a:lnTo>
                    <a:pt x="686" y="573"/>
                  </a:lnTo>
                  <a:lnTo>
                    <a:pt x="690" y="605"/>
                  </a:lnTo>
                  <a:lnTo>
                    <a:pt x="694" y="642"/>
                  </a:lnTo>
                  <a:lnTo>
                    <a:pt x="694" y="674"/>
                  </a:lnTo>
                  <a:lnTo>
                    <a:pt x="694" y="710"/>
                  </a:lnTo>
                  <a:lnTo>
                    <a:pt x="694" y="747"/>
                  </a:lnTo>
                  <a:lnTo>
                    <a:pt x="694" y="779"/>
                  </a:lnTo>
                  <a:lnTo>
                    <a:pt x="686" y="799"/>
                  </a:lnTo>
                  <a:lnTo>
                    <a:pt x="682" y="823"/>
                  </a:lnTo>
                  <a:lnTo>
                    <a:pt x="682" y="835"/>
                  </a:lnTo>
                  <a:lnTo>
                    <a:pt x="682" y="856"/>
                  </a:lnTo>
                  <a:lnTo>
                    <a:pt x="686" y="860"/>
                  </a:lnTo>
                  <a:lnTo>
                    <a:pt x="710" y="864"/>
                  </a:lnTo>
                  <a:lnTo>
                    <a:pt x="742" y="872"/>
                  </a:lnTo>
                  <a:lnTo>
                    <a:pt x="746" y="872"/>
                  </a:lnTo>
                  <a:lnTo>
                    <a:pt x="746" y="876"/>
                  </a:lnTo>
                  <a:lnTo>
                    <a:pt x="746" y="884"/>
                  </a:lnTo>
                  <a:lnTo>
                    <a:pt x="746" y="892"/>
                  </a:lnTo>
                  <a:lnTo>
                    <a:pt x="734" y="900"/>
                  </a:lnTo>
                  <a:lnTo>
                    <a:pt x="730" y="908"/>
                  </a:lnTo>
                  <a:lnTo>
                    <a:pt x="698" y="916"/>
                  </a:lnTo>
                  <a:lnTo>
                    <a:pt x="666" y="924"/>
                  </a:lnTo>
                  <a:lnTo>
                    <a:pt x="661" y="924"/>
                  </a:lnTo>
                  <a:lnTo>
                    <a:pt x="657" y="928"/>
                  </a:lnTo>
                  <a:lnTo>
                    <a:pt x="641" y="928"/>
                  </a:lnTo>
                  <a:lnTo>
                    <a:pt x="625" y="928"/>
                  </a:lnTo>
                  <a:lnTo>
                    <a:pt x="609" y="956"/>
                  </a:lnTo>
                  <a:lnTo>
                    <a:pt x="605" y="969"/>
                  </a:lnTo>
                  <a:lnTo>
                    <a:pt x="605" y="993"/>
                  </a:lnTo>
                  <a:lnTo>
                    <a:pt x="601" y="1013"/>
                  </a:lnTo>
                  <a:lnTo>
                    <a:pt x="601" y="1017"/>
                  </a:lnTo>
                  <a:lnTo>
                    <a:pt x="597" y="1017"/>
                  </a:lnTo>
                  <a:lnTo>
                    <a:pt x="593" y="1029"/>
                  </a:lnTo>
                  <a:lnTo>
                    <a:pt x="593" y="1037"/>
                  </a:lnTo>
                  <a:lnTo>
                    <a:pt x="577" y="1049"/>
                  </a:lnTo>
                  <a:lnTo>
                    <a:pt x="565" y="1065"/>
                  </a:lnTo>
                  <a:lnTo>
                    <a:pt x="581" y="1065"/>
                  </a:lnTo>
                  <a:lnTo>
                    <a:pt x="593" y="1073"/>
                  </a:lnTo>
                  <a:lnTo>
                    <a:pt x="601" y="1073"/>
                  </a:lnTo>
                  <a:lnTo>
                    <a:pt x="609" y="1073"/>
                  </a:lnTo>
                  <a:lnTo>
                    <a:pt x="633" y="1065"/>
                  </a:lnTo>
                  <a:lnTo>
                    <a:pt x="645" y="1065"/>
                  </a:lnTo>
                  <a:lnTo>
                    <a:pt x="657" y="1069"/>
                  </a:lnTo>
                  <a:lnTo>
                    <a:pt x="670" y="1069"/>
                  </a:lnTo>
                  <a:lnTo>
                    <a:pt x="666" y="1073"/>
                  </a:lnTo>
                  <a:lnTo>
                    <a:pt x="661" y="1078"/>
                  </a:lnTo>
                  <a:lnTo>
                    <a:pt x="645" y="1086"/>
                  </a:lnTo>
                  <a:lnTo>
                    <a:pt x="641" y="1090"/>
                  </a:lnTo>
                  <a:lnTo>
                    <a:pt x="613" y="1090"/>
                  </a:lnTo>
                  <a:lnTo>
                    <a:pt x="593" y="1098"/>
                  </a:lnTo>
                  <a:lnTo>
                    <a:pt x="577" y="1106"/>
                  </a:lnTo>
                  <a:lnTo>
                    <a:pt x="557" y="1114"/>
                  </a:lnTo>
                  <a:lnTo>
                    <a:pt x="553" y="1118"/>
                  </a:lnTo>
                  <a:lnTo>
                    <a:pt x="544" y="1118"/>
                  </a:lnTo>
                  <a:lnTo>
                    <a:pt x="532" y="1126"/>
                  </a:lnTo>
                  <a:lnTo>
                    <a:pt x="524" y="1142"/>
                  </a:lnTo>
                  <a:lnTo>
                    <a:pt x="524" y="1146"/>
                  </a:lnTo>
                  <a:lnTo>
                    <a:pt x="524" y="1150"/>
                  </a:lnTo>
                  <a:lnTo>
                    <a:pt x="524" y="1154"/>
                  </a:lnTo>
                  <a:lnTo>
                    <a:pt x="528" y="1154"/>
                  </a:lnTo>
                  <a:lnTo>
                    <a:pt x="528" y="1162"/>
                  </a:lnTo>
                  <a:lnTo>
                    <a:pt x="532" y="1170"/>
                  </a:lnTo>
                  <a:lnTo>
                    <a:pt x="544" y="1182"/>
                  </a:lnTo>
                  <a:lnTo>
                    <a:pt x="549" y="1190"/>
                  </a:lnTo>
                  <a:lnTo>
                    <a:pt x="549" y="1195"/>
                  </a:lnTo>
                  <a:lnTo>
                    <a:pt x="549" y="1199"/>
                  </a:lnTo>
                  <a:lnTo>
                    <a:pt x="544" y="1203"/>
                  </a:lnTo>
                  <a:lnTo>
                    <a:pt x="532" y="1207"/>
                  </a:lnTo>
                  <a:lnTo>
                    <a:pt x="520" y="1207"/>
                  </a:lnTo>
                  <a:lnTo>
                    <a:pt x="504" y="12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1300"/>
            </a:p>
          </p:txBody>
        </p:sp>
        <p:sp>
          <p:nvSpPr>
            <p:cNvPr id="129" name="Freeform 37"/>
            <p:cNvSpPr>
              <a:spLocks/>
            </p:cNvSpPr>
            <p:nvPr/>
          </p:nvSpPr>
          <p:spPr bwMode="auto">
            <a:xfrm>
              <a:off x="4103543" y="3627152"/>
              <a:ext cx="1084263" cy="846366"/>
            </a:xfrm>
            <a:custGeom>
              <a:avLst/>
              <a:gdLst>
                <a:gd name="T0" fmla="*/ 417201349 w 1207"/>
                <a:gd name="T1" fmla="*/ 687987439 h 952"/>
                <a:gd name="T2" fmla="*/ 358292744 w 1207"/>
                <a:gd name="T3" fmla="*/ 675864589 h 952"/>
                <a:gd name="T4" fmla="*/ 319558430 w 1207"/>
                <a:gd name="T5" fmla="*/ 687987439 h 952"/>
                <a:gd name="T6" fmla="*/ 263877460 w 1207"/>
                <a:gd name="T7" fmla="*/ 687987439 h 952"/>
                <a:gd name="T8" fmla="*/ 238054584 w 1207"/>
                <a:gd name="T9" fmla="*/ 656921710 h 952"/>
                <a:gd name="T10" fmla="*/ 188829726 w 1207"/>
                <a:gd name="T11" fmla="*/ 593275656 h 952"/>
                <a:gd name="T12" fmla="*/ 150095412 w 1207"/>
                <a:gd name="T13" fmla="*/ 550087076 h 952"/>
                <a:gd name="T14" fmla="*/ 55680984 w 1207"/>
                <a:gd name="T15" fmla="*/ 550087076 h 952"/>
                <a:gd name="T16" fmla="*/ 45997181 w 1207"/>
                <a:gd name="T17" fmla="*/ 519779514 h 952"/>
                <a:gd name="T18" fmla="*/ 7262854 w 1207"/>
                <a:gd name="T19" fmla="*/ 492502013 h 952"/>
                <a:gd name="T20" fmla="*/ 13718126 w 1207"/>
                <a:gd name="T21" fmla="*/ 437190473 h 952"/>
                <a:gd name="T22" fmla="*/ 7262854 w 1207"/>
                <a:gd name="T23" fmla="*/ 372786252 h 952"/>
                <a:gd name="T24" fmla="*/ 13718126 w 1207"/>
                <a:gd name="T25" fmla="*/ 342478690 h 952"/>
                <a:gd name="T26" fmla="*/ 65363903 w 1207"/>
                <a:gd name="T27" fmla="*/ 308382030 h 952"/>
                <a:gd name="T28" fmla="*/ 84731509 w 1207"/>
                <a:gd name="T29" fmla="*/ 268981678 h 952"/>
                <a:gd name="T30" fmla="*/ 55680984 w 1207"/>
                <a:gd name="T31" fmla="*/ 244735976 h 952"/>
                <a:gd name="T32" fmla="*/ 23401932 w 1207"/>
                <a:gd name="T33" fmla="*/ 229581325 h 952"/>
                <a:gd name="T34" fmla="*/ 16946663 w 1207"/>
                <a:gd name="T35" fmla="*/ 195485481 h 952"/>
                <a:gd name="T36" fmla="*/ 71820071 w 1207"/>
                <a:gd name="T37" fmla="*/ 165177920 h 952"/>
                <a:gd name="T38" fmla="*/ 114588704 w 1207"/>
                <a:gd name="T39" fmla="*/ 137900418 h 952"/>
                <a:gd name="T40" fmla="*/ 228370725 w 1207"/>
                <a:gd name="T41" fmla="*/ 153054199 h 952"/>
                <a:gd name="T42" fmla="*/ 289700336 w 1207"/>
                <a:gd name="T43" fmla="*/ 165177920 h 952"/>
                <a:gd name="T44" fmla="*/ 345381306 w 1207"/>
                <a:gd name="T45" fmla="*/ 153054199 h 952"/>
                <a:gd name="T46" fmla="*/ 410745181 w 1207"/>
                <a:gd name="T47" fmla="*/ 134112190 h 952"/>
                <a:gd name="T48" fmla="*/ 443023327 w 1207"/>
                <a:gd name="T49" fmla="*/ 125019399 h 952"/>
                <a:gd name="T50" fmla="*/ 553577797 w 1207"/>
                <a:gd name="T51" fmla="*/ 88649950 h 952"/>
                <a:gd name="T52" fmla="*/ 651220716 w 1207"/>
                <a:gd name="T53" fmla="*/ 67435179 h 952"/>
                <a:gd name="T54" fmla="*/ 716584590 w 1207"/>
                <a:gd name="T55" fmla="*/ 76527099 h 952"/>
                <a:gd name="T56" fmla="*/ 772265560 w 1207"/>
                <a:gd name="T57" fmla="*/ 94711810 h 952"/>
                <a:gd name="T58" fmla="*/ 836822751 w 1207"/>
                <a:gd name="T59" fmla="*/ 70466109 h 952"/>
                <a:gd name="T60" fmla="*/ 856189459 w 1207"/>
                <a:gd name="T61" fmla="*/ 24246578 h 952"/>
                <a:gd name="T62" fmla="*/ 879591384 w 1207"/>
                <a:gd name="T63" fmla="*/ 0 h 952"/>
                <a:gd name="T64" fmla="*/ 947377333 w 1207"/>
                <a:gd name="T65" fmla="*/ 42431296 h 952"/>
                <a:gd name="T66" fmla="*/ 950604967 w 1207"/>
                <a:gd name="T67" fmla="*/ 134112190 h 952"/>
                <a:gd name="T68" fmla="*/ 915098064 w 1207"/>
                <a:gd name="T69" fmla="*/ 115927479 h 952"/>
                <a:gd name="T70" fmla="*/ 863452311 w 1207"/>
                <a:gd name="T71" fmla="*/ 159116059 h 952"/>
                <a:gd name="T72" fmla="*/ 843278021 w 1207"/>
                <a:gd name="T73" fmla="*/ 189423621 h 952"/>
                <a:gd name="T74" fmla="*/ 817455144 w 1207"/>
                <a:gd name="T75" fmla="*/ 207608332 h 952"/>
                <a:gd name="T76" fmla="*/ 788404633 w 1207"/>
                <a:gd name="T77" fmla="*/ 265950747 h 952"/>
                <a:gd name="T78" fmla="*/ 775493195 w 1207"/>
                <a:gd name="T79" fmla="*/ 287166389 h 952"/>
                <a:gd name="T80" fmla="*/ 739179832 w 1207"/>
                <a:gd name="T81" fmla="*/ 339447760 h 952"/>
                <a:gd name="T82" fmla="*/ 745635101 w 1207"/>
                <a:gd name="T83" fmla="*/ 394001893 h 952"/>
                <a:gd name="T84" fmla="*/ 716584590 w 1207"/>
                <a:gd name="T85" fmla="*/ 412943901 h 952"/>
                <a:gd name="T86" fmla="*/ 719813124 w 1207"/>
                <a:gd name="T87" fmla="*/ 464467213 h 952"/>
                <a:gd name="T88" fmla="*/ 729496028 w 1207"/>
                <a:gd name="T89" fmla="*/ 510686724 h 952"/>
                <a:gd name="T90" fmla="*/ 700445517 w 1207"/>
                <a:gd name="T91" fmla="*/ 553118006 h 952"/>
                <a:gd name="T92" fmla="*/ 654448351 w 1207"/>
                <a:gd name="T93" fmla="*/ 565240857 h 952"/>
                <a:gd name="T94" fmla="*/ 644764547 w 1207"/>
                <a:gd name="T95" fmla="*/ 599336646 h 952"/>
                <a:gd name="T96" fmla="*/ 638309278 w 1207"/>
                <a:gd name="T97" fmla="*/ 629645078 h 952"/>
                <a:gd name="T98" fmla="*/ 563261600 w 1207"/>
                <a:gd name="T99" fmla="*/ 629645078 h 952"/>
                <a:gd name="T100" fmla="*/ 550350162 w 1207"/>
                <a:gd name="T101" fmla="*/ 700110290 h 952"/>
                <a:gd name="T102" fmla="*/ 439795692 w 1207"/>
                <a:gd name="T103" fmla="*/ 721325931 h 9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07"/>
                <a:gd name="T157" fmla="*/ 0 h 952"/>
                <a:gd name="T158" fmla="*/ 1207 w 1207"/>
                <a:gd name="T159" fmla="*/ 952 h 9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07" h="952">
                  <a:moveTo>
                    <a:pt x="545" y="952"/>
                  </a:moveTo>
                  <a:lnTo>
                    <a:pt x="533" y="940"/>
                  </a:lnTo>
                  <a:lnTo>
                    <a:pt x="521" y="924"/>
                  </a:lnTo>
                  <a:lnTo>
                    <a:pt x="521" y="916"/>
                  </a:lnTo>
                  <a:lnTo>
                    <a:pt x="517" y="908"/>
                  </a:lnTo>
                  <a:lnTo>
                    <a:pt x="509" y="904"/>
                  </a:lnTo>
                  <a:lnTo>
                    <a:pt x="505" y="888"/>
                  </a:lnTo>
                  <a:lnTo>
                    <a:pt x="476" y="888"/>
                  </a:lnTo>
                  <a:lnTo>
                    <a:pt x="452" y="888"/>
                  </a:lnTo>
                  <a:lnTo>
                    <a:pt x="444" y="892"/>
                  </a:lnTo>
                  <a:lnTo>
                    <a:pt x="432" y="896"/>
                  </a:lnTo>
                  <a:lnTo>
                    <a:pt x="412" y="896"/>
                  </a:lnTo>
                  <a:lnTo>
                    <a:pt x="408" y="904"/>
                  </a:lnTo>
                  <a:lnTo>
                    <a:pt x="404" y="908"/>
                  </a:lnTo>
                  <a:lnTo>
                    <a:pt x="396" y="908"/>
                  </a:lnTo>
                  <a:lnTo>
                    <a:pt x="380" y="916"/>
                  </a:lnTo>
                  <a:lnTo>
                    <a:pt x="359" y="916"/>
                  </a:lnTo>
                  <a:lnTo>
                    <a:pt x="335" y="916"/>
                  </a:lnTo>
                  <a:lnTo>
                    <a:pt x="331" y="916"/>
                  </a:lnTo>
                  <a:lnTo>
                    <a:pt x="327" y="908"/>
                  </a:lnTo>
                  <a:lnTo>
                    <a:pt x="323" y="904"/>
                  </a:lnTo>
                  <a:lnTo>
                    <a:pt x="323" y="896"/>
                  </a:lnTo>
                  <a:lnTo>
                    <a:pt x="315" y="888"/>
                  </a:lnTo>
                  <a:lnTo>
                    <a:pt x="299" y="871"/>
                  </a:lnTo>
                  <a:lnTo>
                    <a:pt x="295" y="867"/>
                  </a:lnTo>
                  <a:lnTo>
                    <a:pt x="291" y="855"/>
                  </a:lnTo>
                  <a:lnTo>
                    <a:pt x="275" y="839"/>
                  </a:lnTo>
                  <a:lnTo>
                    <a:pt x="247" y="799"/>
                  </a:lnTo>
                  <a:lnTo>
                    <a:pt x="238" y="791"/>
                  </a:lnTo>
                  <a:lnTo>
                    <a:pt x="234" y="783"/>
                  </a:lnTo>
                  <a:lnTo>
                    <a:pt x="230" y="775"/>
                  </a:lnTo>
                  <a:lnTo>
                    <a:pt x="218" y="771"/>
                  </a:lnTo>
                  <a:lnTo>
                    <a:pt x="206" y="750"/>
                  </a:lnTo>
                  <a:lnTo>
                    <a:pt x="198" y="726"/>
                  </a:lnTo>
                  <a:lnTo>
                    <a:pt x="186" y="726"/>
                  </a:lnTo>
                  <a:lnTo>
                    <a:pt x="178" y="726"/>
                  </a:lnTo>
                  <a:lnTo>
                    <a:pt x="178" y="718"/>
                  </a:lnTo>
                  <a:lnTo>
                    <a:pt x="178" y="714"/>
                  </a:lnTo>
                  <a:lnTo>
                    <a:pt x="93" y="726"/>
                  </a:lnTo>
                  <a:lnTo>
                    <a:pt x="69" y="726"/>
                  </a:lnTo>
                  <a:lnTo>
                    <a:pt x="65" y="722"/>
                  </a:lnTo>
                  <a:lnTo>
                    <a:pt x="65" y="718"/>
                  </a:lnTo>
                  <a:lnTo>
                    <a:pt x="57" y="702"/>
                  </a:lnTo>
                  <a:lnTo>
                    <a:pt x="57" y="690"/>
                  </a:lnTo>
                  <a:lnTo>
                    <a:pt x="57" y="686"/>
                  </a:lnTo>
                  <a:lnTo>
                    <a:pt x="57" y="678"/>
                  </a:lnTo>
                  <a:lnTo>
                    <a:pt x="57" y="670"/>
                  </a:lnTo>
                  <a:lnTo>
                    <a:pt x="29" y="666"/>
                  </a:lnTo>
                  <a:lnTo>
                    <a:pt x="21" y="662"/>
                  </a:lnTo>
                  <a:lnTo>
                    <a:pt x="9" y="650"/>
                  </a:lnTo>
                  <a:lnTo>
                    <a:pt x="0" y="633"/>
                  </a:lnTo>
                  <a:lnTo>
                    <a:pt x="0" y="617"/>
                  </a:lnTo>
                  <a:lnTo>
                    <a:pt x="0" y="605"/>
                  </a:lnTo>
                  <a:lnTo>
                    <a:pt x="9" y="593"/>
                  </a:lnTo>
                  <a:lnTo>
                    <a:pt x="17" y="577"/>
                  </a:lnTo>
                  <a:lnTo>
                    <a:pt x="17" y="557"/>
                  </a:lnTo>
                  <a:lnTo>
                    <a:pt x="17" y="541"/>
                  </a:lnTo>
                  <a:lnTo>
                    <a:pt x="13" y="524"/>
                  </a:lnTo>
                  <a:lnTo>
                    <a:pt x="9" y="496"/>
                  </a:lnTo>
                  <a:lnTo>
                    <a:pt x="9" y="492"/>
                  </a:lnTo>
                  <a:lnTo>
                    <a:pt x="4" y="492"/>
                  </a:lnTo>
                  <a:lnTo>
                    <a:pt x="4" y="472"/>
                  </a:lnTo>
                  <a:lnTo>
                    <a:pt x="4" y="460"/>
                  </a:lnTo>
                  <a:lnTo>
                    <a:pt x="13" y="456"/>
                  </a:lnTo>
                  <a:lnTo>
                    <a:pt x="17" y="452"/>
                  </a:lnTo>
                  <a:lnTo>
                    <a:pt x="37" y="448"/>
                  </a:lnTo>
                  <a:lnTo>
                    <a:pt x="57" y="436"/>
                  </a:lnTo>
                  <a:lnTo>
                    <a:pt x="65" y="424"/>
                  </a:lnTo>
                  <a:lnTo>
                    <a:pt x="73" y="411"/>
                  </a:lnTo>
                  <a:lnTo>
                    <a:pt x="81" y="407"/>
                  </a:lnTo>
                  <a:lnTo>
                    <a:pt x="93" y="399"/>
                  </a:lnTo>
                  <a:lnTo>
                    <a:pt x="101" y="391"/>
                  </a:lnTo>
                  <a:lnTo>
                    <a:pt x="105" y="379"/>
                  </a:lnTo>
                  <a:lnTo>
                    <a:pt x="105" y="371"/>
                  </a:lnTo>
                  <a:lnTo>
                    <a:pt x="105" y="355"/>
                  </a:lnTo>
                  <a:lnTo>
                    <a:pt x="101" y="347"/>
                  </a:lnTo>
                  <a:lnTo>
                    <a:pt x="97" y="335"/>
                  </a:lnTo>
                  <a:lnTo>
                    <a:pt x="89" y="335"/>
                  </a:lnTo>
                  <a:lnTo>
                    <a:pt x="77" y="323"/>
                  </a:lnTo>
                  <a:lnTo>
                    <a:pt x="69" y="323"/>
                  </a:lnTo>
                  <a:lnTo>
                    <a:pt x="57" y="319"/>
                  </a:lnTo>
                  <a:lnTo>
                    <a:pt x="53" y="307"/>
                  </a:lnTo>
                  <a:lnTo>
                    <a:pt x="41" y="307"/>
                  </a:lnTo>
                  <a:lnTo>
                    <a:pt x="29" y="303"/>
                  </a:lnTo>
                  <a:lnTo>
                    <a:pt x="17" y="294"/>
                  </a:lnTo>
                  <a:lnTo>
                    <a:pt x="4" y="282"/>
                  </a:lnTo>
                  <a:lnTo>
                    <a:pt x="4" y="270"/>
                  </a:lnTo>
                  <a:lnTo>
                    <a:pt x="4" y="266"/>
                  </a:lnTo>
                  <a:lnTo>
                    <a:pt x="21" y="258"/>
                  </a:lnTo>
                  <a:lnTo>
                    <a:pt x="41" y="250"/>
                  </a:lnTo>
                  <a:lnTo>
                    <a:pt x="53" y="250"/>
                  </a:lnTo>
                  <a:lnTo>
                    <a:pt x="65" y="250"/>
                  </a:lnTo>
                  <a:lnTo>
                    <a:pt x="73" y="234"/>
                  </a:lnTo>
                  <a:lnTo>
                    <a:pt x="89" y="218"/>
                  </a:lnTo>
                  <a:lnTo>
                    <a:pt x="89" y="206"/>
                  </a:lnTo>
                  <a:lnTo>
                    <a:pt x="89" y="186"/>
                  </a:lnTo>
                  <a:lnTo>
                    <a:pt x="105" y="186"/>
                  </a:lnTo>
                  <a:lnTo>
                    <a:pt x="121" y="182"/>
                  </a:lnTo>
                  <a:lnTo>
                    <a:pt x="142" y="182"/>
                  </a:lnTo>
                  <a:lnTo>
                    <a:pt x="158" y="182"/>
                  </a:lnTo>
                  <a:lnTo>
                    <a:pt x="194" y="186"/>
                  </a:lnTo>
                  <a:lnTo>
                    <a:pt x="222" y="198"/>
                  </a:lnTo>
                  <a:lnTo>
                    <a:pt x="251" y="198"/>
                  </a:lnTo>
                  <a:lnTo>
                    <a:pt x="283" y="202"/>
                  </a:lnTo>
                  <a:lnTo>
                    <a:pt x="295" y="206"/>
                  </a:lnTo>
                  <a:lnTo>
                    <a:pt x="319" y="210"/>
                  </a:lnTo>
                  <a:lnTo>
                    <a:pt x="343" y="218"/>
                  </a:lnTo>
                  <a:lnTo>
                    <a:pt x="359" y="218"/>
                  </a:lnTo>
                  <a:lnTo>
                    <a:pt x="380" y="218"/>
                  </a:lnTo>
                  <a:lnTo>
                    <a:pt x="384" y="214"/>
                  </a:lnTo>
                  <a:lnTo>
                    <a:pt x="400" y="210"/>
                  </a:lnTo>
                  <a:lnTo>
                    <a:pt x="404" y="206"/>
                  </a:lnTo>
                  <a:lnTo>
                    <a:pt x="428" y="202"/>
                  </a:lnTo>
                  <a:lnTo>
                    <a:pt x="444" y="202"/>
                  </a:lnTo>
                  <a:lnTo>
                    <a:pt x="452" y="198"/>
                  </a:lnTo>
                  <a:lnTo>
                    <a:pt x="476" y="186"/>
                  </a:lnTo>
                  <a:lnTo>
                    <a:pt x="509" y="182"/>
                  </a:lnTo>
                  <a:lnTo>
                    <a:pt x="509" y="177"/>
                  </a:lnTo>
                  <a:lnTo>
                    <a:pt x="509" y="173"/>
                  </a:lnTo>
                  <a:lnTo>
                    <a:pt x="517" y="169"/>
                  </a:lnTo>
                  <a:lnTo>
                    <a:pt x="525" y="169"/>
                  </a:lnTo>
                  <a:lnTo>
                    <a:pt x="533" y="165"/>
                  </a:lnTo>
                  <a:lnTo>
                    <a:pt x="549" y="165"/>
                  </a:lnTo>
                  <a:lnTo>
                    <a:pt x="585" y="153"/>
                  </a:lnTo>
                  <a:lnTo>
                    <a:pt x="662" y="129"/>
                  </a:lnTo>
                  <a:lnTo>
                    <a:pt x="670" y="125"/>
                  </a:lnTo>
                  <a:lnTo>
                    <a:pt x="682" y="117"/>
                  </a:lnTo>
                  <a:lnTo>
                    <a:pt x="686" y="117"/>
                  </a:lnTo>
                  <a:lnTo>
                    <a:pt x="698" y="113"/>
                  </a:lnTo>
                  <a:lnTo>
                    <a:pt x="715" y="101"/>
                  </a:lnTo>
                  <a:lnTo>
                    <a:pt x="735" y="81"/>
                  </a:lnTo>
                  <a:lnTo>
                    <a:pt x="755" y="81"/>
                  </a:lnTo>
                  <a:lnTo>
                    <a:pt x="807" y="89"/>
                  </a:lnTo>
                  <a:lnTo>
                    <a:pt x="831" y="89"/>
                  </a:lnTo>
                  <a:lnTo>
                    <a:pt x="860" y="89"/>
                  </a:lnTo>
                  <a:lnTo>
                    <a:pt x="864" y="93"/>
                  </a:lnTo>
                  <a:lnTo>
                    <a:pt x="868" y="101"/>
                  </a:lnTo>
                  <a:lnTo>
                    <a:pt x="888" y="101"/>
                  </a:lnTo>
                  <a:lnTo>
                    <a:pt x="904" y="101"/>
                  </a:lnTo>
                  <a:lnTo>
                    <a:pt x="904" y="113"/>
                  </a:lnTo>
                  <a:lnTo>
                    <a:pt x="908" y="117"/>
                  </a:lnTo>
                  <a:lnTo>
                    <a:pt x="912" y="125"/>
                  </a:lnTo>
                  <a:lnTo>
                    <a:pt x="957" y="125"/>
                  </a:lnTo>
                  <a:lnTo>
                    <a:pt x="989" y="117"/>
                  </a:lnTo>
                  <a:lnTo>
                    <a:pt x="1001" y="113"/>
                  </a:lnTo>
                  <a:lnTo>
                    <a:pt x="1013" y="101"/>
                  </a:lnTo>
                  <a:lnTo>
                    <a:pt x="1025" y="101"/>
                  </a:lnTo>
                  <a:lnTo>
                    <a:pt x="1037" y="93"/>
                  </a:lnTo>
                  <a:lnTo>
                    <a:pt x="1049" y="81"/>
                  </a:lnTo>
                  <a:lnTo>
                    <a:pt x="1057" y="77"/>
                  </a:lnTo>
                  <a:lnTo>
                    <a:pt x="1057" y="56"/>
                  </a:lnTo>
                  <a:lnTo>
                    <a:pt x="1061" y="40"/>
                  </a:lnTo>
                  <a:lnTo>
                    <a:pt x="1061" y="32"/>
                  </a:lnTo>
                  <a:lnTo>
                    <a:pt x="1070" y="28"/>
                  </a:lnTo>
                  <a:lnTo>
                    <a:pt x="1074" y="4"/>
                  </a:lnTo>
                  <a:lnTo>
                    <a:pt x="1074" y="0"/>
                  </a:lnTo>
                  <a:lnTo>
                    <a:pt x="1082" y="0"/>
                  </a:lnTo>
                  <a:lnTo>
                    <a:pt x="1090" y="0"/>
                  </a:lnTo>
                  <a:lnTo>
                    <a:pt x="1102" y="4"/>
                  </a:lnTo>
                  <a:lnTo>
                    <a:pt x="1110" y="8"/>
                  </a:lnTo>
                  <a:lnTo>
                    <a:pt x="1150" y="28"/>
                  </a:lnTo>
                  <a:lnTo>
                    <a:pt x="1154" y="40"/>
                  </a:lnTo>
                  <a:lnTo>
                    <a:pt x="1174" y="56"/>
                  </a:lnTo>
                  <a:lnTo>
                    <a:pt x="1203" y="81"/>
                  </a:lnTo>
                  <a:lnTo>
                    <a:pt x="1203" y="125"/>
                  </a:lnTo>
                  <a:lnTo>
                    <a:pt x="1207" y="161"/>
                  </a:lnTo>
                  <a:lnTo>
                    <a:pt x="1195" y="169"/>
                  </a:lnTo>
                  <a:lnTo>
                    <a:pt x="1178" y="177"/>
                  </a:lnTo>
                  <a:lnTo>
                    <a:pt x="1174" y="173"/>
                  </a:lnTo>
                  <a:lnTo>
                    <a:pt x="1166" y="169"/>
                  </a:lnTo>
                  <a:lnTo>
                    <a:pt x="1162" y="165"/>
                  </a:lnTo>
                  <a:lnTo>
                    <a:pt x="1150" y="161"/>
                  </a:lnTo>
                  <a:lnTo>
                    <a:pt x="1134" y="153"/>
                  </a:lnTo>
                  <a:lnTo>
                    <a:pt x="1110" y="153"/>
                  </a:lnTo>
                  <a:lnTo>
                    <a:pt x="1102" y="161"/>
                  </a:lnTo>
                  <a:lnTo>
                    <a:pt x="1090" y="165"/>
                  </a:lnTo>
                  <a:lnTo>
                    <a:pt x="1074" y="186"/>
                  </a:lnTo>
                  <a:lnTo>
                    <a:pt x="1070" y="210"/>
                  </a:lnTo>
                  <a:lnTo>
                    <a:pt x="1061" y="214"/>
                  </a:lnTo>
                  <a:lnTo>
                    <a:pt x="1053" y="218"/>
                  </a:lnTo>
                  <a:lnTo>
                    <a:pt x="1053" y="230"/>
                  </a:lnTo>
                  <a:lnTo>
                    <a:pt x="1049" y="242"/>
                  </a:lnTo>
                  <a:lnTo>
                    <a:pt x="1045" y="250"/>
                  </a:lnTo>
                  <a:lnTo>
                    <a:pt x="1037" y="254"/>
                  </a:lnTo>
                  <a:lnTo>
                    <a:pt x="1037" y="258"/>
                  </a:lnTo>
                  <a:lnTo>
                    <a:pt x="1025" y="262"/>
                  </a:lnTo>
                  <a:lnTo>
                    <a:pt x="1021" y="266"/>
                  </a:lnTo>
                  <a:lnTo>
                    <a:pt x="1013" y="274"/>
                  </a:lnTo>
                  <a:lnTo>
                    <a:pt x="1005" y="303"/>
                  </a:lnTo>
                  <a:lnTo>
                    <a:pt x="997" y="331"/>
                  </a:lnTo>
                  <a:lnTo>
                    <a:pt x="989" y="335"/>
                  </a:lnTo>
                  <a:lnTo>
                    <a:pt x="977" y="347"/>
                  </a:lnTo>
                  <a:lnTo>
                    <a:pt x="977" y="351"/>
                  </a:lnTo>
                  <a:lnTo>
                    <a:pt x="973" y="355"/>
                  </a:lnTo>
                  <a:lnTo>
                    <a:pt x="969" y="355"/>
                  </a:lnTo>
                  <a:lnTo>
                    <a:pt x="961" y="359"/>
                  </a:lnTo>
                  <a:lnTo>
                    <a:pt x="961" y="371"/>
                  </a:lnTo>
                  <a:lnTo>
                    <a:pt x="961" y="379"/>
                  </a:lnTo>
                  <a:lnTo>
                    <a:pt x="957" y="383"/>
                  </a:lnTo>
                  <a:lnTo>
                    <a:pt x="944" y="387"/>
                  </a:lnTo>
                  <a:lnTo>
                    <a:pt x="932" y="407"/>
                  </a:lnTo>
                  <a:lnTo>
                    <a:pt x="920" y="424"/>
                  </a:lnTo>
                  <a:lnTo>
                    <a:pt x="916" y="448"/>
                  </a:lnTo>
                  <a:lnTo>
                    <a:pt x="916" y="464"/>
                  </a:lnTo>
                  <a:lnTo>
                    <a:pt x="920" y="476"/>
                  </a:lnTo>
                  <a:lnTo>
                    <a:pt x="924" y="480"/>
                  </a:lnTo>
                  <a:lnTo>
                    <a:pt x="924" y="500"/>
                  </a:lnTo>
                  <a:lnTo>
                    <a:pt x="924" y="520"/>
                  </a:lnTo>
                  <a:lnTo>
                    <a:pt x="920" y="524"/>
                  </a:lnTo>
                  <a:lnTo>
                    <a:pt x="916" y="528"/>
                  </a:lnTo>
                  <a:lnTo>
                    <a:pt x="904" y="528"/>
                  </a:lnTo>
                  <a:lnTo>
                    <a:pt x="892" y="537"/>
                  </a:lnTo>
                  <a:lnTo>
                    <a:pt x="888" y="545"/>
                  </a:lnTo>
                  <a:lnTo>
                    <a:pt x="880" y="557"/>
                  </a:lnTo>
                  <a:lnTo>
                    <a:pt x="880" y="577"/>
                  </a:lnTo>
                  <a:lnTo>
                    <a:pt x="880" y="605"/>
                  </a:lnTo>
                  <a:lnTo>
                    <a:pt x="884" y="613"/>
                  </a:lnTo>
                  <a:lnTo>
                    <a:pt x="892" y="613"/>
                  </a:lnTo>
                  <a:lnTo>
                    <a:pt x="892" y="633"/>
                  </a:lnTo>
                  <a:lnTo>
                    <a:pt x="892" y="654"/>
                  </a:lnTo>
                  <a:lnTo>
                    <a:pt x="896" y="662"/>
                  </a:lnTo>
                  <a:lnTo>
                    <a:pt x="904" y="666"/>
                  </a:lnTo>
                  <a:lnTo>
                    <a:pt x="904" y="674"/>
                  </a:lnTo>
                  <a:lnTo>
                    <a:pt x="904" y="686"/>
                  </a:lnTo>
                  <a:lnTo>
                    <a:pt x="892" y="702"/>
                  </a:lnTo>
                  <a:lnTo>
                    <a:pt x="888" y="718"/>
                  </a:lnTo>
                  <a:lnTo>
                    <a:pt x="880" y="722"/>
                  </a:lnTo>
                  <a:lnTo>
                    <a:pt x="868" y="730"/>
                  </a:lnTo>
                  <a:lnTo>
                    <a:pt x="864" y="730"/>
                  </a:lnTo>
                  <a:lnTo>
                    <a:pt x="840" y="730"/>
                  </a:lnTo>
                  <a:lnTo>
                    <a:pt x="831" y="730"/>
                  </a:lnTo>
                  <a:lnTo>
                    <a:pt x="823" y="734"/>
                  </a:lnTo>
                  <a:lnTo>
                    <a:pt x="811" y="746"/>
                  </a:lnTo>
                  <a:lnTo>
                    <a:pt x="807" y="754"/>
                  </a:lnTo>
                  <a:lnTo>
                    <a:pt x="807" y="767"/>
                  </a:lnTo>
                  <a:lnTo>
                    <a:pt x="807" y="783"/>
                  </a:lnTo>
                  <a:lnTo>
                    <a:pt x="803" y="783"/>
                  </a:lnTo>
                  <a:lnTo>
                    <a:pt x="799" y="791"/>
                  </a:lnTo>
                  <a:lnTo>
                    <a:pt x="799" y="799"/>
                  </a:lnTo>
                  <a:lnTo>
                    <a:pt x="799" y="811"/>
                  </a:lnTo>
                  <a:lnTo>
                    <a:pt x="795" y="819"/>
                  </a:lnTo>
                  <a:lnTo>
                    <a:pt x="795" y="831"/>
                  </a:lnTo>
                  <a:lnTo>
                    <a:pt x="791" y="831"/>
                  </a:lnTo>
                  <a:lnTo>
                    <a:pt x="783" y="831"/>
                  </a:lnTo>
                  <a:lnTo>
                    <a:pt x="747" y="819"/>
                  </a:lnTo>
                  <a:lnTo>
                    <a:pt x="727" y="819"/>
                  </a:lnTo>
                  <a:lnTo>
                    <a:pt x="715" y="823"/>
                  </a:lnTo>
                  <a:lnTo>
                    <a:pt x="698" y="831"/>
                  </a:lnTo>
                  <a:lnTo>
                    <a:pt x="690" y="839"/>
                  </a:lnTo>
                  <a:lnTo>
                    <a:pt x="682" y="847"/>
                  </a:lnTo>
                  <a:lnTo>
                    <a:pt x="686" y="884"/>
                  </a:lnTo>
                  <a:lnTo>
                    <a:pt x="686" y="916"/>
                  </a:lnTo>
                  <a:lnTo>
                    <a:pt x="682" y="924"/>
                  </a:lnTo>
                  <a:lnTo>
                    <a:pt x="674" y="928"/>
                  </a:lnTo>
                  <a:lnTo>
                    <a:pt x="658" y="940"/>
                  </a:lnTo>
                  <a:lnTo>
                    <a:pt x="634" y="944"/>
                  </a:lnTo>
                  <a:lnTo>
                    <a:pt x="577" y="952"/>
                  </a:lnTo>
                  <a:lnTo>
                    <a:pt x="545" y="95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00" b="1">
                <a:latin typeface="+mn-lt"/>
                <a:cs typeface="+mn-cs"/>
              </a:endParaRPr>
            </a:p>
          </p:txBody>
        </p:sp>
        <p:sp>
          <p:nvSpPr>
            <p:cNvPr id="130" name="Freeform 38"/>
            <p:cNvSpPr>
              <a:spLocks/>
            </p:cNvSpPr>
            <p:nvPr/>
          </p:nvSpPr>
          <p:spPr bwMode="auto">
            <a:xfrm>
              <a:off x="5818271" y="3490956"/>
              <a:ext cx="1003300" cy="951756"/>
            </a:xfrm>
            <a:custGeom>
              <a:avLst/>
              <a:gdLst>
                <a:gd name="T0" fmla="*/ 2147483647 w 1118"/>
                <a:gd name="T1" fmla="*/ 2147483647 h 1069"/>
                <a:gd name="T2" fmla="*/ 2147483647 w 1118"/>
                <a:gd name="T3" fmla="*/ 2147483647 h 1069"/>
                <a:gd name="T4" fmla="*/ 2147483647 w 1118"/>
                <a:gd name="T5" fmla="*/ 2147483647 h 1069"/>
                <a:gd name="T6" fmla="*/ 2147483647 w 1118"/>
                <a:gd name="T7" fmla="*/ 2147483647 h 1069"/>
                <a:gd name="T8" fmla="*/ 2147483647 w 1118"/>
                <a:gd name="T9" fmla="*/ 2147483647 h 1069"/>
                <a:gd name="T10" fmla="*/ 2147483647 w 1118"/>
                <a:gd name="T11" fmla="*/ 2147483647 h 1069"/>
                <a:gd name="T12" fmla="*/ 2147483647 w 1118"/>
                <a:gd name="T13" fmla="*/ 2147483647 h 1069"/>
                <a:gd name="T14" fmla="*/ 2147483647 w 1118"/>
                <a:gd name="T15" fmla="*/ 2147483647 h 1069"/>
                <a:gd name="T16" fmla="*/ 2147483647 w 1118"/>
                <a:gd name="T17" fmla="*/ 2147483647 h 1069"/>
                <a:gd name="T18" fmla="*/ 2147483647 w 1118"/>
                <a:gd name="T19" fmla="*/ 2147483647 h 1069"/>
                <a:gd name="T20" fmla="*/ 2147483647 w 1118"/>
                <a:gd name="T21" fmla="*/ 2147483647 h 1069"/>
                <a:gd name="T22" fmla="*/ 2147483647 w 1118"/>
                <a:gd name="T23" fmla="*/ 2147483647 h 1069"/>
                <a:gd name="T24" fmla="*/ 2147483647 w 1118"/>
                <a:gd name="T25" fmla="*/ 2147483647 h 1069"/>
                <a:gd name="T26" fmla="*/ 2147483647 w 1118"/>
                <a:gd name="T27" fmla="*/ 2147483647 h 1069"/>
                <a:gd name="T28" fmla="*/ 2147483647 w 1118"/>
                <a:gd name="T29" fmla="*/ 2147483647 h 1069"/>
                <a:gd name="T30" fmla="*/ 2147483647 w 1118"/>
                <a:gd name="T31" fmla="*/ 2147483647 h 1069"/>
                <a:gd name="T32" fmla="*/ 2147483647 w 1118"/>
                <a:gd name="T33" fmla="*/ 2147483647 h 1069"/>
                <a:gd name="T34" fmla="*/ 2147483647 w 1118"/>
                <a:gd name="T35" fmla="*/ 2147483647 h 1069"/>
                <a:gd name="T36" fmla="*/ 2147483647 w 1118"/>
                <a:gd name="T37" fmla="*/ 2147483647 h 1069"/>
                <a:gd name="T38" fmla="*/ 2147483647 w 1118"/>
                <a:gd name="T39" fmla="*/ 2147483647 h 1069"/>
                <a:gd name="T40" fmla="*/ 2147483647 w 1118"/>
                <a:gd name="T41" fmla="*/ 2147483647 h 1069"/>
                <a:gd name="T42" fmla="*/ 2147483647 w 1118"/>
                <a:gd name="T43" fmla="*/ 2147483647 h 1069"/>
                <a:gd name="T44" fmla="*/ 2147483647 w 1118"/>
                <a:gd name="T45" fmla="*/ 2147483647 h 1069"/>
                <a:gd name="T46" fmla="*/ 2147483647 w 1118"/>
                <a:gd name="T47" fmla="*/ 2147483647 h 1069"/>
                <a:gd name="T48" fmla="*/ 2147483647 w 1118"/>
                <a:gd name="T49" fmla="*/ 2147483647 h 1069"/>
                <a:gd name="T50" fmla="*/ 2147483647 w 1118"/>
                <a:gd name="T51" fmla="*/ 2147483647 h 1069"/>
                <a:gd name="T52" fmla="*/ 2147483647 w 1118"/>
                <a:gd name="T53" fmla="*/ 0 h 1069"/>
                <a:gd name="T54" fmla="*/ 2147483647 w 1118"/>
                <a:gd name="T55" fmla="*/ 2147483647 h 1069"/>
                <a:gd name="T56" fmla="*/ 2147483647 w 1118"/>
                <a:gd name="T57" fmla="*/ 2147483647 h 1069"/>
                <a:gd name="T58" fmla="*/ 2147483647 w 1118"/>
                <a:gd name="T59" fmla="*/ 2147483647 h 1069"/>
                <a:gd name="T60" fmla="*/ 2147483647 w 1118"/>
                <a:gd name="T61" fmla="*/ 2147483647 h 1069"/>
                <a:gd name="T62" fmla="*/ 2147483647 w 1118"/>
                <a:gd name="T63" fmla="*/ 2147483647 h 1069"/>
                <a:gd name="T64" fmla="*/ 2147483647 w 1118"/>
                <a:gd name="T65" fmla="*/ 2147483647 h 1069"/>
                <a:gd name="T66" fmla="*/ 2147483647 w 1118"/>
                <a:gd name="T67" fmla="*/ 2147483647 h 1069"/>
                <a:gd name="T68" fmla="*/ 2147483647 w 1118"/>
                <a:gd name="T69" fmla="*/ 2147483647 h 1069"/>
                <a:gd name="T70" fmla="*/ 2147483647 w 1118"/>
                <a:gd name="T71" fmla="*/ 2147483647 h 1069"/>
                <a:gd name="T72" fmla="*/ 2147483647 w 1118"/>
                <a:gd name="T73" fmla="*/ 2147483647 h 1069"/>
                <a:gd name="T74" fmla="*/ 2147483647 w 1118"/>
                <a:gd name="T75" fmla="*/ 2147483647 h 1069"/>
                <a:gd name="T76" fmla="*/ 2147483647 w 1118"/>
                <a:gd name="T77" fmla="*/ 2147483647 h 1069"/>
                <a:gd name="T78" fmla="*/ 2147483647 w 1118"/>
                <a:gd name="T79" fmla="*/ 2147483647 h 1069"/>
                <a:gd name="T80" fmla="*/ 2147483647 w 1118"/>
                <a:gd name="T81" fmla="*/ 2147483647 h 1069"/>
                <a:gd name="T82" fmla="*/ 2147483647 w 1118"/>
                <a:gd name="T83" fmla="*/ 2147483647 h 1069"/>
                <a:gd name="T84" fmla="*/ 2147483647 w 1118"/>
                <a:gd name="T85" fmla="*/ 2147483647 h 1069"/>
                <a:gd name="T86" fmla="*/ 2147483647 w 1118"/>
                <a:gd name="T87" fmla="*/ 2147483647 h 1069"/>
                <a:gd name="T88" fmla="*/ 2147483647 w 1118"/>
                <a:gd name="T89" fmla="*/ 2147483647 h 1069"/>
                <a:gd name="T90" fmla="*/ 2147483647 w 1118"/>
                <a:gd name="T91" fmla="*/ 2147483647 h 1069"/>
                <a:gd name="T92" fmla="*/ 2147483647 w 1118"/>
                <a:gd name="T93" fmla="*/ 2147483647 h 1069"/>
                <a:gd name="T94" fmla="*/ 2147483647 w 1118"/>
                <a:gd name="T95" fmla="*/ 2147483647 h 1069"/>
                <a:gd name="T96" fmla="*/ 2147483647 w 1118"/>
                <a:gd name="T97" fmla="*/ 2147483647 h 1069"/>
                <a:gd name="T98" fmla="*/ 2147483647 w 1118"/>
                <a:gd name="T99" fmla="*/ 2147483647 h 1069"/>
                <a:gd name="T100" fmla="*/ 2147483647 w 1118"/>
                <a:gd name="T101" fmla="*/ 2147483647 h 1069"/>
                <a:gd name="T102" fmla="*/ 2147483647 w 1118"/>
                <a:gd name="T103" fmla="*/ 2147483647 h 1069"/>
                <a:gd name="T104" fmla="*/ 2147483647 w 1118"/>
                <a:gd name="T105" fmla="*/ 2147483647 h 1069"/>
                <a:gd name="T106" fmla="*/ 2147483647 w 1118"/>
                <a:gd name="T107" fmla="*/ 2147483647 h 1069"/>
                <a:gd name="T108" fmla="*/ 2147483647 w 1118"/>
                <a:gd name="T109" fmla="*/ 2147483647 h 1069"/>
                <a:gd name="T110" fmla="*/ 2147483647 w 1118"/>
                <a:gd name="T111" fmla="*/ 2147483647 h 1069"/>
                <a:gd name="T112" fmla="*/ 2147483647 w 1118"/>
                <a:gd name="T113" fmla="*/ 2147483647 h 106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118"/>
                <a:gd name="T172" fmla="*/ 0 h 1069"/>
                <a:gd name="T173" fmla="*/ 1118 w 1118"/>
                <a:gd name="T174" fmla="*/ 1069 h 106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118" h="1069">
                  <a:moveTo>
                    <a:pt x="505" y="1069"/>
                  </a:moveTo>
                  <a:lnTo>
                    <a:pt x="501" y="1061"/>
                  </a:lnTo>
                  <a:lnTo>
                    <a:pt x="497" y="1049"/>
                  </a:lnTo>
                  <a:lnTo>
                    <a:pt x="488" y="1045"/>
                  </a:lnTo>
                  <a:lnTo>
                    <a:pt x="476" y="1041"/>
                  </a:lnTo>
                  <a:lnTo>
                    <a:pt x="448" y="1041"/>
                  </a:lnTo>
                  <a:lnTo>
                    <a:pt x="416" y="1041"/>
                  </a:lnTo>
                  <a:lnTo>
                    <a:pt x="416" y="1045"/>
                  </a:lnTo>
                  <a:lnTo>
                    <a:pt x="412" y="1045"/>
                  </a:lnTo>
                  <a:lnTo>
                    <a:pt x="396" y="1045"/>
                  </a:lnTo>
                  <a:lnTo>
                    <a:pt x="380" y="1045"/>
                  </a:lnTo>
                  <a:lnTo>
                    <a:pt x="359" y="1057"/>
                  </a:lnTo>
                  <a:lnTo>
                    <a:pt x="343" y="1061"/>
                  </a:lnTo>
                  <a:lnTo>
                    <a:pt x="327" y="1061"/>
                  </a:lnTo>
                  <a:lnTo>
                    <a:pt x="311" y="1061"/>
                  </a:lnTo>
                  <a:lnTo>
                    <a:pt x="311" y="1041"/>
                  </a:lnTo>
                  <a:lnTo>
                    <a:pt x="311" y="1020"/>
                  </a:lnTo>
                  <a:lnTo>
                    <a:pt x="307" y="1000"/>
                  </a:lnTo>
                  <a:lnTo>
                    <a:pt x="307" y="992"/>
                  </a:lnTo>
                  <a:lnTo>
                    <a:pt x="279" y="992"/>
                  </a:lnTo>
                  <a:lnTo>
                    <a:pt x="263" y="992"/>
                  </a:lnTo>
                  <a:lnTo>
                    <a:pt x="246" y="996"/>
                  </a:lnTo>
                  <a:lnTo>
                    <a:pt x="234" y="1000"/>
                  </a:lnTo>
                  <a:lnTo>
                    <a:pt x="234" y="1004"/>
                  </a:lnTo>
                  <a:lnTo>
                    <a:pt x="230" y="1008"/>
                  </a:lnTo>
                  <a:lnTo>
                    <a:pt x="218" y="1012"/>
                  </a:lnTo>
                  <a:lnTo>
                    <a:pt x="210" y="1020"/>
                  </a:lnTo>
                  <a:lnTo>
                    <a:pt x="206" y="1041"/>
                  </a:lnTo>
                  <a:lnTo>
                    <a:pt x="198" y="1061"/>
                  </a:lnTo>
                  <a:lnTo>
                    <a:pt x="194" y="1061"/>
                  </a:lnTo>
                  <a:lnTo>
                    <a:pt x="178" y="1061"/>
                  </a:lnTo>
                  <a:lnTo>
                    <a:pt x="166" y="1061"/>
                  </a:lnTo>
                  <a:lnTo>
                    <a:pt x="150" y="1049"/>
                  </a:lnTo>
                  <a:lnTo>
                    <a:pt x="137" y="1037"/>
                  </a:lnTo>
                  <a:lnTo>
                    <a:pt x="121" y="1037"/>
                  </a:lnTo>
                  <a:lnTo>
                    <a:pt x="113" y="1032"/>
                  </a:lnTo>
                  <a:lnTo>
                    <a:pt x="113" y="1024"/>
                  </a:lnTo>
                  <a:lnTo>
                    <a:pt x="105" y="1020"/>
                  </a:lnTo>
                  <a:lnTo>
                    <a:pt x="105" y="1008"/>
                  </a:lnTo>
                  <a:lnTo>
                    <a:pt x="101" y="996"/>
                  </a:lnTo>
                  <a:lnTo>
                    <a:pt x="89" y="992"/>
                  </a:lnTo>
                  <a:lnTo>
                    <a:pt x="77" y="984"/>
                  </a:lnTo>
                  <a:lnTo>
                    <a:pt x="73" y="976"/>
                  </a:lnTo>
                  <a:lnTo>
                    <a:pt x="69" y="972"/>
                  </a:lnTo>
                  <a:lnTo>
                    <a:pt x="69" y="952"/>
                  </a:lnTo>
                  <a:lnTo>
                    <a:pt x="69" y="928"/>
                  </a:lnTo>
                  <a:lnTo>
                    <a:pt x="57" y="915"/>
                  </a:lnTo>
                  <a:lnTo>
                    <a:pt x="45" y="903"/>
                  </a:lnTo>
                  <a:lnTo>
                    <a:pt x="37" y="871"/>
                  </a:lnTo>
                  <a:lnTo>
                    <a:pt x="29" y="843"/>
                  </a:lnTo>
                  <a:lnTo>
                    <a:pt x="21" y="835"/>
                  </a:lnTo>
                  <a:lnTo>
                    <a:pt x="12" y="823"/>
                  </a:lnTo>
                  <a:lnTo>
                    <a:pt x="12" y="807"/>
                  </a:lnTo>
                  <a:lnTo>
                    <a:pt x="12" y="790"/>
                  </a:lnTo>
                  <a:lnTo>
                    <a:pt x="8" y="770"/>
                  </a:lnTo>
                  <a:lnTo>
                    <a:pt x="0" y="750"/>
                  </a:lnTo>
                  <a:lnTo>
                    <a:pt x="0" y="738"/>
                  </a:lnTo>
                  <a:lnTo>
                    <a:pt x="0" y="718"/>
                  </a:lnTo>
                  <a:lnTo>
                    <a:pt x="0" y="714"/>
                  </a:lnTo>
                  <a:lnTo>
                    <a:pt x="8" y="710"/>
                  </a:lnTo>
                  <a:lnTo>
                    <a:pt x="16" y="710"/>
                  </a:lnTo>
                  <a:lnTo>
                    <a:pt x="21" y="706"/>
                  </a:lnTo>
                  <a:lnTo>
                    <a:pt x="29" y="694"/>
                  </a:lnTo>
                  <a:lnTo>
                    <a:pt x="45" y="677"/>
                  </a:lnTo>
                  <a:lnTo>
                    <a:pt x="49" y="673"/>
                  </a:lnTo>
                  <a:lnTo>
                    <a:pt x="57" y="669"/>
                  </a:lnTo>
                  <a:lnTo>
                    <a:pt x="113" y="661"/>
                  </a:lnTo>
                  <a:lnTo>
                    <a:pt x="166" y="657"/>
                  </a:lnTo>
                  <a:lnTo>
                    <a:pt x="178" y="649"/>
                  </a:lnTo>
                  <a:lnTo>
                    <a:pt x="182" y="645"/>
                  </a:lnTo>
                  <a:lnTo>
                    <a:pt x="190" y="621"/>
                  </a:lnTo>
                  <a:lnTo>
                    <a:pt x="198" y="609"/>
                  </a:lnTo>
                  <a:lnTo>
                    <a:pt x="198" y="585"/>
                  </a:lnTo>
                  <a:lnTo>
                    <a:pt x="198" y="564"/>
                  </a:lnTo>
                  <a:lnTo>
                    <a:pt x="194" y="552"/>
                  </a:lnTo>
                  <a:lnTo>
                    <a:pt x="190" y="552"/>
                  </a:lnTo>
                  <a:lnTo>
                    <a:pt x="186" y="548"/>
                  </a:lnTo>
                  <a:lnTo>
                    <a:pt x="182" y="540"/>
                  </a:lnTo>
                  <a:lnTo>
                    <a:pt x="170" y="524"/>
                  </a:lnTo>
                  <a:lnTo>
                    <a:pt x="166" y="504"/>
                  </a:lnTo>
                  <a:lnTo>
                    <a:pt x="158" y="496"/>
                  </a:lnTo>
                  <a:lnTo>
                    <a:pt x="150" y="492"/>
                  </a:lnTo>
                  <a:lnTo>
                    <a:pt x="133" y="488"/>
                  </a:lnTo>
                  <a:lnTo>
                    <a:pt x="121" y="488"/>
                  </a:lnTo>
                  <a:lnTo>
                    <a:pt x="117" y="484"/>
                  </a:lnTo>
                  <a:lnTo>
                    <a:pt x="113" y="464"/>
                  </a:lnTo>
                  <a:lnTo>
                    <a:pt x="105" y="452"/>
                  </a:lnTo>
                  <a:lnTo>
                    <a:pt x="125" y="443"/>
                  </a:lnTo>
                  <a:lnTo>
                    <a:pt x="137" y="435"/>
                  </a:lnTo>
                  <a:lnTo>
                    <a:pt x="150" y="423"/>
                  </a:lnTo>
                  <a:lnTo>
                    <a:pt x="158" y="419"/>
                  </a:lnTo>
                  <a:lnTo>
                    <a:pt x="170" y="407"/>
                  </a:lnTo>
                  <a:lnTo>
                    <a:pt x="186" y="387"/>
                  </a:lnTo>
                  <a:lnTo>
                    <a:pt x="190" y="379"/>
                  </a:lnTo>
                  <a:lnTo>
                    <a:pt x="194" y="367"/>
                  </a:lnTo>
                  <a:lnTo>
                    <a:pt x="194" y="351"/>
                  </a:lnTo>
                  <a:lnTo>
                    <a:pt x="198" y="326"/>
                  </a:lnTo>
                  <a:lnTo>
                    <a:pt x="210" y="318"/>
                  </a:lnTo>
                  <a:lnTo>
                    <a:pt x="222" y="314"/>
                  </a:lnTo>
                  <a:lnTo>
                    <a:pt x="234" y="310"/>
                  </a:lnTo>
                  <a:lnTo>
                    <a:pt x="242" y="310"/>
                  </a:lnTo>
                  <a:lnTo>
                    <a:pt x="246" y="294"/>
                  </a:lnTo>
                  <a:lnTo>
                    <a:pt x="259" y="278"/>
                  </a:lnTo>
                  <a:lnTo>
                    <a:pt x="267" y="266"/>
                  </a:lnTo>
                  <a:lnTo>
                    <a:pt x="283" y="246"/>
                  </a:lnTo>
                  <a:lnTo>
                    <a:pt x="291" y="230"/>
                  </a:lnTo>
                  <a:lnTo>
                    <a:pt x="295" y="189"/>
                  </a:lnTo>
                  <a:lnTo>
                    <a:pt x="307" y="153"/>
                  </a:lnTo>
                  <a:lnTo>
                    <a:pt x="327" y="133"/>
                  </a:lnTo>
                  <a:lnTo>
                    <a:pt x="327" y="117"/>
                  </a:lnTo>
                  <a:lnTo>
                    <a:pt x="327" y="109"/>
                  </a:lnTo>
                  <a:lnTo>
                    <a:pt x="323" y="101"/>
                  </a:lnTo>
                  <a:lnTo>
                    <a:pt x="311" y="84"/>
                  </a:lnTo>
                  <a:lnTo>
                    <a:pt x="311" y="80"/>
                  </a:lnTo>
                  <a:lnTo>
                    <a:pt x="319" y="72"/>
                  </a:lnTo>
                  <a:lnTo>
                    <a:pt x="323" y="68"/>
                  </a:lnTo>
                  <a:lnTo>
                    <a:pt x="327" y="64"/>
                  </a:lnTo>
                  <a:lnTo>
                    <a:pt x="347" y="60"/>
                  </a:lnTo>
                  <a:lnTo>
                    <a:pt x="376" y="60"/>
                  </a:lnTo>
                  <a:lnTo>
                    <a:pt x="388" y="44"/>
                  </a:lnTo>
                  <a:lnTo>
                    <a:pt x="400" y="24"/>
                  </a:lnTo>
                  <a:lnTo>
                    <a:pt x="420" y="20"/>
                  </a:lnTo>
                  <a:lnTo>
                    <a:pt x="440" y="12"/>
                  </a:lnTo>
                  <a:lnTo>
                    <a:pt x="476" y="12"/>
                  </a:lnTo>
                  <a:lnTo>
                    <a:pt x="521" y="8"/>
                  </a:lnTo>
                  <a:lnTo>
                    <a:pt x="521" y="12"/>
                  </a:lnTo>
                  <a:lnTo>
                    <a:pt x="525" y="20"/>
                  </a:lnTo>
                  <a:lnTo>
                    <a:pt x="529" y="20"/>
                  </a:lnTo>
                  <a:lnTo>
                    <a:pt x="533" y="24"/>
                  </a:lnTo>
                  <a:lnTo>
                    <a:pt x="541" y="24"/>
                  </a:lnTo>
                  <a:lnTo>
                    <a:pt x="557" y="24"/>
                  </a:lnTo>
                  <a:lnTo>
                    <a:pt x="577" y="20"/>
                  </a:lnTo>
                  <a:lnTo>
                    <a:pt x="589" y="12"/>
                  </a:lnTo>
                  <a:lnTo>
                    <a:pt x="597" y="8"/>
                  </a:lnTo>
                  <a:lnTo>
                    <a:pt x="609" y="0"/>
                  </a:lnTo>
                  <a:lnTo>
                    <a:pt x="638" y="0"/>
                  </a:lnTo>
                  <a:lnTo>
                    <a:pt x="670" y="0"/>
                  </a:lnTo>
                  <a:lnTo>
                    <a:pt x="674" y="20"/>
                  </a:lnTo>
                  <a:lnTo>
                    <a:pt x="678" y="36"/>
                  </a:lnTo>
                  <a:lnTo>
                    <a:pt x="698" y="52"/>
                  </a:lnTo>
                  <a:lnTo>
                    <a:pt x="710" y="60"/>
                  </a:lnTo>
                  <a:lnTo>
                    <a:pt x="735" y="60"/>
                  </a:lnTo>
                  <a:lnTo>
                    <a:pt x="775" y="64"/>
                  </a:lnTo>
                  <a:lnTo>
                    <a:pt x="787" y="52"/>
                  </a:lnTo>
                  <a:lnTo>
                    <a:pt x="803" y="44"/>
                  </a:lnTo>
                  <a:lnTo>
                    <a:pt x="807" y="36"/>
                  </a:lnTo>
                  <a:lnTo>
                    <a:pt x="815" y="36"/>
                  </a:lnTo>
                  <a:lnTo>
                    <a:pt x="831" y="36"/>
                  </a:lnTo>
                  <a:lnTo>
                    <a:pt x="843" y="36"/>
                  </a:lnTo>
                  <a:lnTo>
                    <a:pt x="860" y="44"/>
                  </a:lnTo>
                  <a:lnTo>
                    <a:pt x="872" y="48"/>
                  </a:lnTo>
                  <a:lnTo>
                    <a:pt x="888" y="52"/>
                  </a:lnTo>
                  <a:lnTo>
                    <a:pt x="916" y="52"/>
                  </a:lnTo>
                  <a:lnTo>
                    <a:pt x="920" y="56"/>
                  </a:lnTo>
                  <a:lnTo>
                    <a:pt x="940" y="60"/>
                  </a:lnTo>
                  <a:lnTo>
                    <a:pt x="969" y="64"/>
                  </a:lnTo>
                  <a:lnTo>
                    <a:pt x="993" y="64"/>
                  </a:lnTo>
                  <a:lnTo>
                    <a:pt x="1017" y="60"/>
                  </a:lnTo>
                  <a:lnTo>
                    <a:pt x="1017" y="56"/>
                  </a:lnTo>
                  <a:lnTo>
                    <a:pt x="1021" y="52"/>
                  </a:lnTo>
                  <a:lnTo>
                    <a:pt x="1025" y="44"/>
                  </a:lnTo>
                  <a:lnTo>
                    <a:pt x="1029" y="36"/>
                  </a:lnTo>
                  <a:lnTo>
                    <a:pt x="1041" y="36"/>
                  </a:lnTo>
                  <a:lnTo>
                    <a:pt x="1045" y="36"/>
                  </a:lnTo>
                  <a:lnTo>
                    <a:pt x="1053" y="52"/>
                  </a:lnTo>
                  <a:lnTo>
                    <a:pt x="1057" y="64"/>
                  </a:lnTo>
                  <a:lnTo>
                    <a:pt x="1057" y="68"/>
                  </a:lnTo>
                  <a:lnTo>
                    <a:pt x="1061" y="68"/>
                  </a:lnTo>
                  <a:lnTo>
                    <a:pt x="1106" y="72"/>
                  </a:lnTo>
                  <a:lnTo>
                    <a:pt x="1118" y="76"/>
                  </a:lnTo>
                  <a:lnTo>
                    <a:pt x="1118" y="80"/>
                  </a:lnTo>
                  <a:lnTo>
                    <a:pt x="1118" y="84"/>
                  </a:lnTo>
                  <a:lnTo>
                    <a:pt x="1106" y="96"/>
                  </a:lnTo>
                  <a:lnTo>
                    <a:pt x="1102" y="109"/>
                  </a:lnTo>
                  <a:lnTo>
                    <a:pt x="1102" y="121"/>
                  </a:lnTo>
                  <a:lnTo>
                    <a:pt x="1098" y="137"/>
                  </a:lnTo>
                  <a:lnTo>
                    <a:pt x="1094" y="145"/>
                  </a:lnTo>
                  <a:lnTo>
                    <a:pt x="1077" y="145"/>
                  </a:lnTo>
                  <a:lnTo>
                    <a:pt x="1065" y="149"/>
                  </a:lnTo>
                  <a:lnTo>
                    <a:pt x="1061" y="153"/>
                  </a:lnTo>
                  <a:lnTo>
                    <a:pt x="1057" y="157"/>
                  </a:lnTo>
                  <a:lnTo>
                    <a:pt x="1057" y="169"/>
                  </a:lnTo>
                  <a:lnTo>
                    <a:pt x="1057" y="189"/>
                  </a:lnTo>
                  <a:lnTo>
                    <a:pt x="1065" y="197"/>
                  </a:lnTo>
                  <a:lnTo>
                    <a:pt x="1073" y="209"/>
                  </a:lnTo>
                  <a:lnTo>
                    <a:pt x="1073" y="222"/>
                  </a:lnTo>
                  <a:lnTo>
                    <a:pt x="1073" y="226"/>
                  </a:lnTo>
                  <a:lnTo>
                    <a:pt x="1065" y="238"/>
                  </a:lnTo>
                  <a:lnTo>
                    <a:pt x="1057" y="246"/>
                  </a:lnTo>
                  <a:lnTo>
                    <a:pt x="1057" y="258"/>
                  </a:lnTo>
                  <a:lnTo>
                    <a:pt x="1057" y="262"/>
                  </a:lnTo>
                  <a:lnTo>
                    <a:pt x="1065" y="274"/>
                  </a:lnTo>
                  <a:lnTo>
                    <a:pt x="1069" y="282"/>
                  </a:lnTo>
                  <a:lnTo>
                    <a:pt x="1069" y="306"/>
                  </a:lnTo>
                  <a:lnTo>
                    <a:pt x="1065" y="322"/>
                  </a:lnTo>
                  <a:lnTo>
                    <a:pt x="1053" y="335"/>
                  </a:lnTo>
                  <a:lnTo>
                    <a:pt x="1037" y="347"/>
                  </a:lnTo>
                  <a:lnTo>
                    <a:pt x="1041" y="355"/>
                  </a:lnTo>
                  <a:lnTo>
                    <a:pt x="1045" y="363"/>
                  </a:lnTo>
                  <a:lnTo>
                    <a:pt x="1045" y="367"/>
                  </a:lnTo>
                  <a:lnTo>
                    <a:pt x="1045" y="371"/>
                  </a:lnTo>
                  <a:lnTo>
                    <a:pt x="1037" y="379"/>
                  </a:lnTo>
                  <a:lnTo>
                    <a:pt x="1021" y="395"/>
                  </a:lnTo>
                  <a:lnTo>
                    <a:pt x="1021" y="399"/>
                  </a:lnTo>
                  <a:lnTo>
                    <a:pt x="1021" y="403"/>
                  </a:lnTo>
                  <a:lnTo>
                    <a:pt x="1009" y="415"/>
                  </a:lnTo>
                  <a:lnTo>
                    <a:pt x="993" y="423"/>
                  </a:lnTo>
                  <a:lnTo>
                    <a:pt x="993" y="456"/>
                  </a:lnTo>
                  <a:lnTo>
                    <a:pt x="993" y="488"/>
                  </a:lnTo>
                  <a:lnTo>
                    <a:pt x="993" y="496"/>
                  </a:lnTo>
                  <a:lnTo>
                    <a:pt x="993" y="512"/>
                  </a:lnTo>
                  <a:lnTo>
                    <a:pt x="1005" y="520"/>
                  </a:lnTo>
                  <a:lnTo>
                    <a:pt x="1013" y="532"/>
                  </a:lnTo>
                  <a:lnTo>
                    <a:pt x="1021" y="536"/>
                  </a:lnTo>
                  <a:lnTo>
                    <a:pt x="1029" y="548"/>
                  </a:lnTo>
                  <a:lnTo>
                    <a:pt x="1045" y="589"/>
                  </a:lnTo>
                  <a:lnTo>
                    <a:pt x="1057" y="609"/>
                  </a:lnTo>
                  <a:lnTo>
                    <a:pt x="1061" y="629"/>
                  </a:lnTo>
                  <a:lnTo>
                    <a:pt x="1061" y="653"/>
                  </a:lnTo>
                  <a:lnTo>
                    <a:pt x="1065" y="657"/>
                  </a:lnTo>
                  <a:lnTo>
                    <a:pt x="1065" y="661"/>
                  </a:lnTo>
                  <a:lnTo>
                    <a:pt x="1065" y="673"/>
                  </a:lnTo>
                  <a:lnTo>
                    <a:pt x="1057" y="706"/>
                  </a:lnTo>
                  <a:lnTo>
                    <a:pt x="1057" y="710"/>
                  </a:lnTo>
                  <a:lnTo>
                    <a:pt x="1053" y="754"/>
                  </a:lnTo>
                  <a:lnTo>
                    <a:pt x="1045" y="807"/>
                  </a:lnTo>
                  <a:lnTo>
                    <a:pt x="1053" y="815"/>
                  </a:lnTo>
                  <a:lnTo>
                    <a:pt x="1057" y="843"/>
                  </a:lnTo>
                  <a:lnTo>
                    <a:pt x="1057" y="867"/>
                  </a:lnTo>
                  <a:lnTo>
                    <a:pt x="1057" y="883"/>
                  </a:lnTo>
                  <a:lnTo>
                    <a:pt x="1057" y="887"/>
                  </a:lnTo>
                  <a:lnTo>
                    <a:pt x="1061" y="899"/>
                  </a:lnTo>
                  <a:lnTo>
                    <a:pt x="1065" y="907"/>
                  </a:lnTo>
                  <a:lnTo>
                    <a:pt x="1065" y="920"/>
                  </a:lnTo>
                  <a:lnTo>
                    <a:pt x="1061" y="924"/>
                  </a:lnTo>
                  <a:lnTo>
                    <a:pt x="1053" y="924"/>
                  </a:lnTo>
                  <a:lnTo>
                    <a:pt x="1037" y="924"/>
                  </a:lnTo>
                  <a:lnTo>
                    <a:pt x="1021" y="924"/>
                  </a:lnTo>
                  <a:lnTo>
                    <a:pt x="1013" y="928"/>
                  </a:lnTo>
                  <a:lnTo>
                    <a:pt x="1005" y="932"/>
                  </a:lnTo>
                  <a:lnTo>
                    <a:pt x="993" y="944"/>
                  </a:lnTo>
                  <a:lnTo>
                    <a:pt x="985" y="948"/>
                  </a:lnTo>
                  <a:lnTo>
                    <a:pt x="977" y="960"/>
                  </a:lnTo>
                  <a:lnTo>
                    <a:pt x="964" y="972"/>
                  </a:lnTo>
                  <a:lnTo>
                    <a:pt x="952" y="972"/>
                  </a:lnTo>
                  <a:lnTo>
                    <a:pt x="940" y="984"/>
                  </a:lnTo>
                  <a:lnTo>
                    <a:pt x="936" y="984"/>
                  </a:lnTo>
                  <a:lnTo>
                    <a:pt x="928" y="984"/>
                  </a:lnTo>
                  <a:lnTo>
                    <a:pt x="920" y="992"/>
                  </a:lnTo>
                  <a:lnTo>
                    <a:pt x="920" y="996"/>
                  </a:lnTo>
                  <a:lnTo>
                    <a:pt x="916" y="1000"/>
                  </a:lnTo>
                  <a:lnTo>
                    <a:pt x="904" y="1000"/>
                  </a:lnTo>
                  <a:lnTo>
                    <a:pt x="896" y="1004"/>
                  </a:lnTo>
                  <a:lnTo>
                    <a:pt x="888" y="1008"/>
                  </a:lnTo>
                  <a:lnTo>
                    <a:pt x="884" y="1012"/>
                  </a:lnTo>
                  <a:lnTo>
                    <a:pt x="884" y="1020"/>
                  </a:lnTo>
                  <a:lnTo>
                    <a:pt x="876" y="1032"/>
                  </a:lnTo>
                  <a:lnTo>
                    <a:pt x="868" y="1041"/>
                  </a:lnTo>
                  <a:lnTo>
                    <a:pt x="860" y="1045"/>
                  </a:lnTo>
                  <a:lnTo>
                    <a:pt x="843" y="1045"/>
                  </a:lnTo>
                  <a:lnTo>
                    <a:pt x="831" y="1045"/>
                  </a:lnTo>
                  <a:lnTo>
                    <a:pt x="807" y="1041"/>
                  </a:lnTo>
                  <a:lnTo>
                    <a:pt x="779" y="1037"/>
                  </a:lnTo>
                  <a:lnTo>
                    <a:pt x="775" y="1032"/>
                  </a:lnTo>
                  <a:lnTo>
                    <a:pt x="755" y="1020"/>
                  </a:lnTo>
                  <a:lnTo>
                    <a:pt x="739" y="1008"/>
                  </a:lnTo>
                  <a:lnTo>
                    <a:pt x="722" y="996"/>
                  </a:lnTo>
                  <a:lnTo>
                    <a:pt x="722" y="984"/>
                  </a:lnTo>
                  <a:lnTo>
                    <a:pt x="722" y="968"/>
                  </a:lnTo>
                  <a:lnTo>
                    <a:pt x="718" y="964"/>
                  </a:lnTo>
                  <a:lnTo>
                    <a:pt x="710" y="956"/>
                  </a:lnTo>
                  <a:lnTo>
                    <a:pt x="690" y="956"/>
                  </a:lnTo>
                  <a:lnTo>
                    <a:pt x="670" y="956"/>
                  </a:lnTo>
                  <a:lnTo>
                    <a:pt x="658" y="964"/>
                  </a:lnTo>
                  <a:lnTo>
                    <a:pt x="642" y="972"/>
                  </a:lnTo>
                  <a:lnTo>
                    <a:pt x="618" y="1000"/>
                  </a:lnTo>
                  <a:lnTo>
                    <a:pt x="589" y="1024"/>
                  </a:lnTo>
                  <a:lnTo>
                    <a:pt x="577" y="1037"/>
                  </a:lnTo>
                  <a:lnTo>
                    <a:pt x="569" y="1041"/>
                  </a:lnTo>
                  <a:lnTo>
                    <a:pt x="553" y="1045"/>
                  </a:lnTo>
                  <a:lnTo>
                    <a:pt x="533" y="1049"/>
                  </a:lnTo>
                  <a:lnTo>
                    <a:pt x="529" y="1061"/>
                  </a:lnTo>
                  <a:lnTo>
                    <a:pt x="525" y="1069"/>
                  </a:lnTo>
                  <a:lnTo>
                    <a:pt x="517" y="1069"/>
                  </a:lnTo>
                  <a:lnTo>
                    <a:pt x="505" y="1069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1300" b="1"/>
            </a:p>
          </p:txBody>
        </p:sp>
        <p:sp>
          <p:nvSpPr>
            <p:cNvPr id="131" name="Freeform 39"/>
            <p:cNvSpPr>
              <a:spLocks/>
            </p:cNvSpPr>
            <p:nvPr/>
          </p:nvSpPr>
          <p:spPr bwMode="auto">
            <a:xfrm>
              <a:off x="2133684" y="3512033"/>
              <a:ext cx="681037" cy="875551"/>
            </a:xfrm>
            <a:custGeom>
              <a:avLst/>
              <a:gdLst>
                <a:gd name="T0" fmla="*/ 214726101 w 758"/>
                <a:gd name="T1" fmla="*/ 743790731 h 984"/>
                <a:gd name="T2" fmla="*/ 195352492 w 758"/>
                <a:gd name="T3" fmla="*/ 704324135 h 984"/>
                <a:gd name="T4" fmla="*/ 195352492 w 758"/>
                <a:gd name="T5" fmla="*/ 683073227 h 984"/>
                <a:gd name="T6" fmla="*/ 188894322 w 758"/>
                <a:gd name="T7" fmla="*/ 648920012 h 984"/>
                <a:gd name="T8" fmla="*/ 129965773 w 758"/>
                <a:gd name="T9" fmla="*/ 627668232 h 984"/>
                <a:gd name="T10" fmla="*/ 104133966 w 758"/>
                <a:gd name="T11" fmla="*/ 609453416 h 984"/>
                <a:gd name="T12" fmla="*/ 120278519 w 758"/>
                <a:gd name="T13" fmla="*/ 532797513 h 984"/>
                <a:gd name="T14" fmla="*/ 107363051 w 758"/>
                <a:gd name="T15" fmla="*/ 495608205 h 984"/>
                <a:gd name="T16" fmla="*/ 87989441 w 758"/>
                <a:gd name="T17" fmla="*/ 456141501 h 984"/>
                <a:gd name="T18" fmla="*/ 54892657 w 758"/>
                <a:gd name="T19" fmla="*/ 397700413 h 984"/>
                <a:gd name="T20" fmla="*/ 9687258 w 758"/>
                <a:gd name="T21" fmla="*/ 370377319 h 984"/>
                <a:gd name="T22" fmla="*/ 0 w 758"/>
                <a:gd name="T23" fmla="*/ 336982909 h 984"/>
                <a:gd name="T24" fmla="*/ 12915444 w 758"/>
                <a:gd name="T25" fmla="*/ 318008417 h 984"/>
                <a:gd name="T26" fmla="*/ 38747233 w 758"/>
                <a:gd name="T27" fmla="*/ 275506600 h 984"/>
                <a:gd name="T28" fmla="*/ 48434487 w 758"/>
                <a:gd name="T29" fmla="*/ 260327006 h 984"/>
                <a:gd name="T30" fmla="*/ 113821220 w 758"/>
                <a:gd name="T31" fmla="*/ 248183505 h 984"/>
                <a:gd name="T32" fmla="*/ 139653027 w 758"/>
                <a:gd name="T33" fmla="*/ 220101551 h 984"/>
                <a:gd name="T34" fmla="*/ 139653027 w 758"/>
                <a:gd name="T35" fmla="*/ 168491455 h 984"/>
                <a:gd name="T36" fmla="*/ 120278519 w 758"/>
                <a:gd name="T37" fmla="*/ 150275768 h 984"/>
                <a:gd name="T38" fmla="*/ 104133966 w 758"/>
                <a:gd name="T39" fmla="*/ 143445648 h 984"/>
                <a:gd name="T40" fmla="*/ 104133966 w 758"/>
                <a:gd name="T41" fmla="*/ 122193868 h 984"/>
                <a:gd name="T42" fmla="*/ 146110298 w 758"/>
                <a:gd name="T43" fmla="*/ 119158646 h 984"/>
                <a:gd name="T44" fmla="*/ 149339383 w 758"/>
                <a:gd name="T45" fmla="*/ 94871617 h 984"/>
                <a:gd name="T46" fmla="*/ 126736688 w 758"/>
                <a:gd name="T47" fmla="*/ 64512430 h 984"/>
                <a:gd name="T48" fmla="*/ 120278519 w 758"/>
                <a:gd name="T49" fmla="*/ 54646203 h 984"/>
                <a:gd name="T50" fmla="*/ 133194858 w 758"/>
                <a:gd name="T51" fmla="*/ 42502702 h 984"/>
                <a:gd name="T52" fmla="*/ 168712992 w 758"/>
                <a:gd name="T53" fmla="*/ 27323101 h 984"/>
                <a:gd name="T54" fmla="*/ 185665238 w 758"/>
                <a:gd name="T55" fmla="*/ 0 h 984"/>
                <a:gd name="T56" fmla="*/ 214726101 w 758"/>
                <a:gd name="T57" fmla="*/ 6072188 h 984"/>
                <a:gd name="T58" fmla="*/ 250244292 w 758"/>
                <a:gd name="T59" fmla="*/ 15179601 h 984"/>
                <a:gd name="T60" fmla="*/ 296257401 w 758"/>
                <a:gd name="T61" fmla="*/ 24287008 h 984"/>
                <a:gd name="T62" fmla="*/ 322089180 w 758"/>
                <a:gd name="T63" fmla="*/ 54646203 h 984"/>
                <a:gd name="T64" fmla="*/ 312401926 w 758"/>
                <a:gd name="T65" fmla="*/ 73619837 h 984"/>
                <a:gd name="T66" fmla="*/ 312401926 w 758"/>
                <a:gd name="T67" fmla="*/ 143445648 h 984"/>
                <a:gd name="T68" fmla="*/ 335004620 w 758"/>
                <a:gd name="T69" fmla="*/ 183671049 h 984"/>
                <a:gd name="T70" fmla="*/ 357607315 w 758"/>
                <a:gd name="T71" fmla="*/ 207958050 h 984"/>
                <a:gd name="T72" fmla="*/ 374559560 w 758"/>
                <a:gd name="T73" fmla="*/ 223137644 h 984"/>
                <a:gd name="T74" fmla="*/ 413307678 w 758"/>
                <a:gd name="T75" fmla="*/ 260327006 h 984"/>
                <a:gd name="T76" fmla="*/ 432681287 w 758"/>
                <a:gd name="T77" fmla="*/ 278541822 h 984"/>
                <a:gd name="T78" fmla="*/ 448825812 w 758"/>
                <a:gd name="T79" fmla="*/ 299793602 h 984"/>
                <a:gd name="T80" fmla="*/ 469007142 w 758"/>
                <a:gd name="T81" fmla="*/ 340019002 h 984"/>
                <a:gd name="T82" fmla="*/ 494839034 w 758"/>
                <a:gd name="T83" fmla="*/ 406807821 h 984"/>
                <a:gd name="T84" fmla="*/ 514212643 w 758"/>
                <a:gd name="T85" fmla="*/ 453105408 h 984"/>
                <a:gd name="T86" fmla="*/ 527128084 w 758"/>
                <a:gd name="T87" fmla="*/ 480428612 h 984"/>
                <a:gd name="T88" fmla="*/ 566683023 w 758"/>
                <a:gd name="T89" fmla="*/ 486499926 h 984"/>
                <a:gd name="T90" fmla="*/ 611888412 w 758"/>
                <a:gd name="T91" fmla="*/ 551012329 h 984"/>
                <a:gd name="T92" fmla="*/ 605430243 w 758"/>
                <a:gd name="T93" fmla="*/ 581371516 h 984"/>
                <a:gd name="T94" fmla="*/ 595743887 w 758"/>
                <a:gd name="T95" fmla="*/ 594273823 h 984"/>
                <a:gd name="T96" fmla="*/ 579598464 w 758"/>
                <a:gd name="T97" fmla="*/ 587442831 h 984"/>
                <a:gd name="T98" fmla="*/ 517441728 w 758"/>
                <a:gd name="T99" fmla="*/ 594273823 h 984"/>
                <a:gd name="T100" fmla="*/ 494839034 w 758"/>
                <a:gd name="T101" fmla="*/ 606417323 h 984"/>
                <a:gd name="T102" fmla="*/ 452054897 w 758"/>
                <a:gd name="T103" fmla="*/ 642847826 h 984"/>
                <a:gd name="T104" fmla="*/ 419764949 w 758"/>
                <a:gd name="T105" fmla="*/ 654991327 h 984"/>
                <a:gd name="T106" fmla="*/ 384246814 w 758"/>
                <a:gd name="T107" fmla="*/ 670170920 h 984"/>
                <a:gd name="T108" fmla="*/ 328547350 w 758"/>
                <a:gd name="T109" fmla="*/ 701288913 h 984"/>
                <a:gd name="T110" fmla="*/ 286570147 w 758"/>
                <a:gd name="T111" fmla="*/ 725575915 h 984"/>
                <a:gd name="T112" fmla="*/ 250244292 w 758"/>
                <a:gd name="T113" fmla="*/ 746826824 h 98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58"/>
                <a:gd name="T172" fmla="*/ 0 h 984"/>
                <a:gd name="T173" fmla="*/ 758 w 758"/>
                <a:gd name="T174" fmla="*/ 984 h 98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58" h="984">
                  <a:moveTo>
                    <a:pt x="290" y="984"/>
                  </a:moveTo>
                  <a:lnTo>
                    <a:pt x="282" y="980"/>
                  </a:lnTo>
                  <a:lnTo>
                    <a:pt x="266" y="980"/>
                  </a:lnTo>
                  <a:lnTo>
                    <a:pt x="254" y="960"/>
                  </a:lnTo>
                  <a:lnTo>
                    <a:pt x="242" y="948"/>
                  </a:lnTo>
                  <a:lnTo>
                    <a:pt x="242" y="928"/>
                  </a:lnTo>
                  <a:lnTo>
                    <a:pt x="242" y="908"/>
                  </a:lnTo>
                  <a:lnTo>
                    <a:pt x="242" y="904"/>
                  </a:lnTo>
                  <a:lnTo>
                    <a:pt x="242" y="900"/>
                  </a:lnTo>
                  <a:lnTo>
                    <a:pt x="242" y="891"/>
                  </a:lnTo>
                  <a:lnTo>
                    <a:pt x="238" y="875"/>
                  </a:lnTo>
                  <a:lnTo>
                    <a:pt x="234" y="855"/>
                  </a:lnTo>
                  <a:lnTo>
                    <a:pt x="217" y="847"/>
                  </a:lnTo>
                  <a:lnTo>
                    <a:pt x="205" y="839"/>
                  </a:lnTo>
                  <a:lnTo>
                    <a:pt x="161" y="827"/>
                  </a:lnTo>
                  <a:lnTo>
                    <a:pt x="129" y="819"/>
                  </a:lnTo>
                  <a:lnTo>
                    <a:pt x="129" y="811"/>
                  </a:lnTo>
                  <a:lnTo>
                    <a:pt x="129" y="803"/>
                  </a:lnTo>
                  <a:lnTo>
                    <a:pt x="137" y="770"/>
                  </a:lnTo>
                  <a:lnTo>
                    <a:pt x="149" y="714"/>
                  </a:lnTo>
                  <a:lnTo>
                    <a:pt x="149" y="702"/>
                  </a:lnTo>
                  <a:lnTo>
                    <a:pt x="149" y="690"/>
                  </a:lnTo>
                  <a:lnTo>
                    <a:pt x="141" y="678"/>
                  </a:lnTo>
                  <a:lnTo>
                    <a:pt x="133" y="653"/>
                  </a:lnTo>
                  <a:lnTo>
                    <a:pt x="125" y="637"/>
                  </a:lnTo>
                  <a:lnTo>
                    <a:pt x="113" y="625"/>
                  </a:lnTo>
                  <a:lnTo>
                    <a:pt x="109" y="601"/>
                  </a:lnTo>
                  <a:lnTo>
                    <a:pt x="109" y="585"/>
                  </a:lnTo>
                  <a:lnTo>
                    <a:pt x="84" y="549"/>
                  </a:lnTo>
                  <a:lnTo>
                    <a:pt x="68" y="524"/>
                  </a:lnTo>
                  <a:lnTo>
                    <a:pt x="52" y="520"/>
                  </a:lnTo>
                  <a:lnTo>
                    <a:pt x="16" y="500"/>
                  </a:lnTo>
                  <a:lnTo>
                    <a:pt x="12" y="488"/>
                  </a:lnTo>
                  <a:lnTo>
                    <a:pt x="0" y="476"/>
                  </a:lnTo>
                  <a:lnTo>
                    <a:pt x="0" y="456"/>
                  </a:lnTo>
                  <a:lnTo>
                    <a:pt x="0" y="444"/>
                  </a:lnTo>
                  <a:lnTo>
                    <a:pt x="8" y="440"/>
                  </a:lnTo>
                  <a:lnTo>
                    <a:pt x="12" y="436"/>
                  </a:lnTo>
                  <a:lnTo>
                    <a:pt x="16" y="419"/>
                  </a:lnTo>
                  <a:lnTo>
                    <a:pt x="20" y="399"/>
                  </a:lnTo>
                  <a:lnTo>
                    <a:pt x="36" y="383"/>
                  </a:lnTo>
                  <a:lnTo>
                    <a:pt x="48" y="363"/>
                  </a:lnTo>
                  <a:lnTo>
                    <a:pt x="48" y="355"/>
                  </a:lnTo>
                  <a:lnTo>
                    <a:pt x="52" y="343"/>
                  </a:lnTo>
                  <a:lnTo>
                    <a:pt x="60" y="343"/>
                  </a:lnTo>
                  <a:lnTo>
                    <a:pt x="72" y="331"/>
                  </a:lnTo>
                  <a:lnTo>
                    <a:pt x="125" y="327"/>
                  </a:lnTo>
                  <a:lnTo>
                    <a:pt x="141" y="327"/>
                  </a:lnTo>
                  <a:lnTo>
                    <a:pt x="157" y="306"/>
                  </a:lnTo>
                  <a:lnTo>
                    <a:pt x="173" y="294"/>
                  </a:lnTo>
                  <a:lnTo>
                    <a:pt x="173" y="290"/>
                  </a:lnTo>
                  <a:lnTo>
                    <a:pt x="173" y="282"/>
                  </a:lnTo>
                  <a:lnTo>
                    <a:pt x="173" y="250"/>
                  </a:lnTo>
                  <a:lnTo>
                    <a:pt x="173" y="222"/>
                  </a:lnTo>
                  <a:lnTo>
                    <a:pt x="165" y="206"/>
                  </a:lnTo>
                  <a:lnTo>
                    <a:pt x="161" y="198"/>
                  </a:lnTo>
                  <a:lnTo>
                    <a:pt x="149" y="198"/>
                  </a:lnTo>
                  <a:lnTo>
                    <a:pt x="137" y="194"/>
                  </a:lnTo>
                  <a:lnTo>
                    <a:pt x="133" y="189"/>
                  </a:lnTo>
                  <a:lnTo>
                    <a:pt x="129" y="189"/>
                  </a:lnTo>
                  <a:lnTo>
                    <a:pt x="125" y="177"/>
                  </a:lnTo>
                  <a:lnTo>
                    <a:pt x="125" y="165"/>
                  </a:lnTo>
                  <a:lnTo>
                    <a:pt x="129" y="161"/>
                  </a:lnTo>
                  <a:lnTo>
                    <a:pt x="137" y="157"/>
                  </a:lnTo>
                  <a:lnTo>
                    <a:pt x="157" y="157"/>
                  </a:lnTo>
                  <a:lnTo>
                    <a:pt x="181" y="157"/>
                  </a:lnTo>
                  <a:lnTo>
                    <a:pt x="181" y="153"/>
                  </a:lnTo>
                  <a:lnTo>
                    <a:pt x="185" y="145"/>
                  </a:lnTo>
                  <a:lnTo>
                    <a:pt x="185" y="125"/>
                  </a:lnTo>
                  <a:lnTo>
                    <a:pt x="181" y="113"/>
                  </a:lnTo>
                  <a:lnTo>
                    <a:pt x="165" y="97"/>
                  </a:lnTo>
                  <a:lnTo>
                    <a:pt x="157" y="85"/>
                  </a:lnTo>
                  <a:lnTo>
                    <a:pt x="153" y="85"/>
                  </a:lnTo>
                  <a:lnTo>
                    <a:pt x="141" y="85"/>
                  </a:lnTo>
                  <a:lnTo>
                    <a:pt x="149" y="72"/>
                  </a:lnTo>
                  <a:lnTo>
                    <a:pt x="153" y="60"/>
                  </a:lnTo>
                  <a:lnTo>
                    <a:pt x="157" y="60"/>
                  </a:lnTo>
                  <a:lnTo>
                    <a:pt x="165" y="56"/>
                  </a:lnTo>
                  <a:lnTo>
                    <a:pt x="185" y="56"/>
                  </a:lnTo>
                  <a:lnTo>
                    <a:pt x="205" y="48"/>
                  </a:lnTo>
                  <a:lnTo>
                    <a:pt x="209" y="36"/>
                  </a:lnTo>
                  <a:lnTo>
                    <a:pt x="213" y="32"/>
                  </a:lnTo>
                  <a:lnTo>
                    <a:pt x="217" y="20"/>
                  </a:lnTo>
                  <a:lnTo>
                    <a:pt x="230" y="0"/>
                  </a:lnTo>
                  <a:lnTo>
                    <a:pt x="242" y="0"/>
                  </a:lnTo>
                  <a:lnTo>
                    <a:pt x="254" y="0"/>
                  </a:lnTo>
                  <a:lnTo>
                    <a:pt x="266" y="8"/>
                  </a:lnTo>
                  <a:lnTo>
                    <a:pt x="278" y="8"/>
                  </a:lnTo>
                  <a:lnTo>
                    <a:pt x="294" y="12"/>
                  </a:lnTo>
                  <a:lnTo>
                    <a:pt x="310" y="20"/>
                  </a:lnTo>
                  <a:lnTo>
                    <a:pt x="322" y="24"/>
                  </a:lnTo>
                  <a:lnTo>
                    <a:pt x="334" y="32"/>
                  </a:lnTo>
                  <a:lnTo>
                    <a:pt x="367" y="32"/>
                  </a:lnTo>
                  <a:lnTo>
                    <a:pt x="399" y="32"/>
                  </a:lnTo>
                  <a:lnTo>
                    <a:pt x="399" y="56"/>
                  </a:lnTo>
                  <a:lnTo>
                    <a:pt x="399" y="72"/>
                  </a:lnTo>
                  <a:lnTo>
                    <a:pt x="395" y="77"/>
                  </a:lnTo>
                  <a:lnTo>
                    <a:pt x="387" y="85"/>
                  </a:lnTo>
                  <a:lnTo>
                    <a:pt x="387" y="97"/>
                  </a:lnTo>
                  <a:lnTo>
                    <a:pt x="387" y="109"/>
                  </a:lnTo>
                  <a:lnTo>
                    <a:pt x="387" y="149"/>
                  </a:lnTo>
                  <a:lnTo>
                    <a:pt x="387" y="189"/>
                  </a:lnTo>
                  <a:lnTo>
                    <a:pt x="395" y="206"/>
                  </a:lnTo>
                  <a:lnTo>
                    <a:pt x="399" y="222"/>
                  </a:lnTo>
                  <a:lnTo>
                    <a:pt x="415" y="242"/>
                  </a:lnTo>
                  <a:lnTo>
                    <a:pt x="435" y="254"/>
                  </a:lnTo>
                  <a:lnTo>
                    <a:pt x="439" y="266"/>
                  </a:lnTo>
                  <a:lnTo>
                    <a:pt x="443" y="274"/>
                  </a:lnTo>
                  <a:lnTo>
                    <a:pt x="447" y="278"/>
                  </a:lnTo>
                  <a:lnTo>
                    <a:pt x="460" y="290"/>
                  </a:lnTo>
                  <a:lnTo>
                    <a:pt x="464" y="294"/>
                  </a:lnTo>
                  <a:lnTo>
                    <a:pt x="468" y="306"/>
                  </a:lnTo>
                  <a:lnTo>
                    <a:pt x="492" y="327"/>
                  </a:lnTo>
                  <a:lnTo>
                    <a:pt x="512" y="343"/>
                  </a:lnTo>
                  <a:lnTo>
                    <a:pt x="520" y="355"/>
                  </a:lnTo>
                  <a:lnTo>
                    <a:pt x="524" y="363"/>
                  </a:lnTo>
                  <a:lnTo>
                    <a:pt x="536" y="367"/>
                  </a:lnTo>
                  <a:lnTo>
                    <a:pt x="540" y="379"/>
                  </a:lnTo>
                  <a:lnTo>
                    <a:pt x="548" y="387"/>
                  </a:lnTo>
                  <a:lnTo>
                    <a:pt x="556" y="395"/>
                  </a:lnTo>
                  <a:lnTo>
                    <a:pt x="564" y="407"/>
                  </a:lnTo>
                  <a:lnTo>
                    <a:pt x="581" y="428"/>
                  </a:lnTo>
                  <a:lnTo>
                    <a:pt x="581" y="448"/>
                  </a:lnTo>
                  <a:lnTo>
                    <a:pt x="581" y="464"/>
                  </a:lnTo>
                  <a:lnTo>
                    <a:pt x="601" y="500"/>
                  </a:lnTo>
                  <a:lnTo>
                    <a:pt x="613" y="536"/>
                  </a:lnTo>
                  <a:lnTo>
                    <a:pt x="625" y="565"/>
                  </a:lnTo>
                  <a:lnTo>
                    <a:pt x="633" y="597"/>
                  </a:lnTo>
                  <a:lnTo>
                    <a:pt x="637" y="597"/>
                  </a:lnTo>
                  <a:lnTo>
                    <a:pt x="641" y="613"/>
                  </a:lnTo>
                  <a:lnTo>
                    <a:pt x="641" y="629"/>
                  </a:lnTo>
                  <a:lnTo>
                    <a:pt x="653" y="633"/>
                  </a:lnTo>
                  <a:lnTo>
                    <a:pt x="661" y="637"/>
                  </a:lnTo>
                  <a:lnTo>
                    <a:pt x="681" y="641"/>
                  </a:lnTo>
                  <a:lnTo>
                    <a:pt x="702" y="641"/>
                  </a:lnTo>
                  <a:lnTo>
                    <a:pt x="734" y="670"/>
                  </a:lnTo>
                  <a:lnTo>
                    <a:pt x="754" y="698"/>
                  </a:lnTo>
                  <a:lnTo>
                    <a:pt x="758" y="726"/>
                  </a:lnTo>
                  <a:lnTo>
                    <a:pt x="758" y="754"/>
                  </a:lnTo>
                  <a:lnTo>
                    <a:pt x="754" y="762"/>
                  </a:lnTo>
                  <a:lnTo>
                    <a:pt x="750" y="766"/>
                  </a:lnTo>
                  <a:lnTo>
                    <a:pt x="746" y="774"/>
                  </a:lnTo>
                  <a:lnTo>
                    <a:pt x="742" y="783"/>
                  </a:lnTo>
                  <a:lnTo>
                    <a:pt x="738" y="783"/>
                  </a:lnTo>
                  <a:lnTo>
                    <a:pt x="734" y="783"/>
                  </a:lnTo>
                  <a:lnTo>
                    <a:pt x="730" y="779"/>
                  </a:lnTo>
                  <a:lnTo>
                    <a:pt x="718" y="774"/>
                  </a:lnTo>
                  <a:lnTo>
                    <a:pt x="698" y="770"/>
                  </a:lnTo>
                  <a:lnTo>
                    <a:pt x="665" y="770"/>
                  </a:lnTo>
                  <a:lnTo>
                    <a:pt x="641" y="783"/>
                  </a:lnTo>
                  <a:lnTo>
                    <a:pt x="625" y="791"/>
                  </a:lnTo>
                  <a:lnTo>
                    <a:pt x="617" y="799"/>
                  </a:lnTo>
                  <a:lnTo>
                    <a:pt x="613" y="799"/>
                  </a:lnTo>
                  <a:lnTo>
                    <a:pt x="593" y="815"/>
                  </a:lnTo>
                  <a:lnTo>
                    <a:pt x="581" y="831"/>
                  </a:lnTo>
                  <a:lnTo>
                    <a:pt x="560" y="847"/>
                  </a:lnTo>
                  <a:lnTo>
                    <a:pt x="548" y="859"/>
                  </a:lnTo>
                  <a:lnTo>
                    <a:pt x="536" y="859"/>
                  </a:lnTo>
                  <a:lnTo>
                    <a:pt x="520" y="863"/>
                  </a:lnTo>
                  <a:lnTo>
                    <a:pt x="512" y="875"/>
                  </a:lnTo>
                  <a:lnTo>
                    <a:pt x="500" y="879"/>
                  </a:lnTo>
                  <a:lnTo>
                    <a:pt x="476" y="883"/>
                  </a:lnTo>
                  <a:lnTo>
                    <a:pt x="451" y="887"/>
                  </a:lnTo>
                  <a:lnTo>
                    <a:pt x="431" y="904"/>
                  </a:lnTo>
                  <a:lnTo>
                    <a:pt x="407" y="924"/>
                  </a:lnTo>
                  <a:lnTo>
                    <a:pt x="395" y="932"/>
                  </a:lnTo>
                  <a:lnTo>
                    <a:pt x="379" y="940"/>
                  </a:lnTo>
                  <a:lnTo>
                    <a:pt x="355" y="956"/>
                  </a:lnTo>
                  <a:lnTo>
                    <a:pt x="330" y="980"/>
                  </a:lnTo>
                  <a:lnTo>
                    <a:pt x="322" y="980"/>
                  </a:lnTo>
                  <a:lnTo>
                    <a:pt x="310" y="984"/>
                  </a:lnTo>
                  <a:lnTo>
                    <a:pt x="302" y="984"/>
                  </a:lnTo>
                  <a:lnTo>
                    <a:pt x="290" y="984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32" name="Freeform 40"/>
            <p:cNvSpPr>
              <a:spLocks/>
            </p:cNvSpPr>
            <p:nvPr/>
          </p:nvSpPr>
          <p:spPr bwMode="auto">
            <a:xfrm>
              <a:off x="4976896" y="3095336"/>
              <a:ext cx="1309688" cy="1238743"/>
            </a:xfrm>
            <a:custGeom>
              <a:avLst/>
              <a:gdLst>
                <a:gd name="T0" fmla="*/ 597118874 w 1457"/>
                <a:gd name="T1" fmla="*/ 1035500384 h 1392"/>
                <a:gd name="T2" fmla="*/ 563991060 w 1457"/>
                <a:gd name="T3" fmla="*/ 1001337583 h 1392"/>
                <a:gd name="T4" fmla="*/ 626207961 w 1457"/>
                <a:gd name="T5" fmla="*/ 980081349 h 1392"/>
                <a:gd name="T6" fmla="*/ 626207961 w 1457"/>
                <a:gd name="T7" fmla="*/ 891259068 h 1392"/>
                <a:gd name="T8" fmla="*/ 610047657 w 1457"/>
                <a:gd name="T9" fmla="*/ 790290212 h 1392"/>
                <a:gd name="T10" fmla="*/ 570455002 w 1457"/>
                <a:gd name="T11" fmla="*/ 769033107 h 1392"/>
                <a:gd name="T12" fmla="*/ 499349844 w 1457"/>
                <a:gd name="T13" fmla="*/ 781179900 h 1392"/>
                <a:gd name="T14" fmla="*/ 381380771 w 1457"/>
                <a:gd name="T15" fmla="*/ 762200372 h 1392"/>
                <a:gd name="T16" fmla="*/ 313508033 w 1457"/>
                <a:gd name="T17" fmla="*/ 775106068 h 1392"/>
                <a:gd name="T18" fmla="*/ 277147798 w 1457"/>
                <a:gd name="T19" fmla="*/ 790290212 h 1392"/>
                <a:gd name="T20" fmla="*/ 231898352 w 1457"/>
                <a:gd name="T21" fmla="*/ 802437005 h 1392"/>
                <a:gd name="T22" fmla="*/ 163218408 w 1457"/>
                <a:gd name="T23" fmla="*/ 844949474 h 1392"/>
                <a:gd name="T24" fmla="*/ 105041105 w 1457"/>
                <a:gd name="T25" fmla="*/ 860892521 h 1392"/>
                <a:gd name="T26" fmla="*/ 68680871 w 1457"/>
                <a:gd name="T27" fmla="*/ 829766201 h 1392"/>
                <a:gd name="T28" fmla="*/ 0 w 1457"/>
                <a:gd name="T29" fmla="*/ 796363173 h 1392"/>
                <a:gd name="T30" fmla="*/ 49289031 w 1457"/>
                <a:gd name="T31" fmla="*/ 713614071 h 1392"/>
                <a:gd name="T32" fmla="*/ 97769058 w 1457"/>
                <a:gd name="T33" fmla="*/ 649085595 h 1392"/>
                <a:gd name="T34" fmla="*/ 150289625 w 1457"/>
                <a:gd name="T35" fmla="*/ 587592727 h 1392"/>
                <a:gd name="T36" fmla="*/ 189074175 w 1457"/>
                <a:gd name="T37" fmla="*/ 597461942 h 1392"/>
                <a:gd name="T38" fmla="*/ 231898352 w 1457"/>
                <a:gd name="T39" fmla="*/ 548116739 h 1392"/>
                <a:gd name="T40" fmla="*/ 222202888 w 1457"/>
                <a:gd name="T41" fmla="*/ 489661223 h 1392"/>
                <a:gd name="T42" fmla="*/ 283611740 w 1457"/>
                <a:gd name="T43" fmla="*/ 459294676 h 1392"/>
                <a:gd name="T44" fmla="*/ 345827742 w 1457"/>
                <a:gd name="T45" fmla="*/ 450184255 h 1392"/>
                <a:gd name="T46" fmla="*/ 475917493 w 1457"/>
                <a:gd name="T47" fmla="*/ 459294676 h 1392"/>
                <a:gd name="T48" fmla="*/ 560758640 w 1457"/>
                <a:gd name="T49" fmla="*/ 391728739 h 1392"/>
                <a:gd name="T50" fmla="*/ 576918944 w 1457"/>
                <a:gd name="T51" fmla="*/ 337068606 h 1392"/>
                <a:gd name="T52" fmla="*/ 626207961 w 1457"/>
                <a:gd name="T53" fmla="*/ 296832844 h 1392"/>
                <a:gd name="T54" fmla="*/ 642367366 w 1457"/>
                <a:gd name="T55" fmla="*/ 217121040 h 1392"/>
                <a:gd name="T56" fmla="*/ 685192441 w 1457"/>
                <a:gd name="T57" fmla="*/ 198901286 h 1392"/>
                <a:gd name="T58" fmla="*/ 736904875 w 1457"/>
                <a:gd name="T59" fmla="*/ 156387946 h 1392"/>
                <a:gd name="T60" fmla="*/ 805585718 w 1457"/>
                <a:gd name="T61" fmla="*/ 116152184 h 1392"/>
                <a:gd name="T62" fmla="*/ 863762093 w 1457"/>
                <a:gd name="T63" fmla="*/ 51622795 h 1392"/>
                <a:gd name="T64" fmla="*/ 955067406 w 1457"/>
                <a:gd name="T65" fmla="*/ 51622795 h 1392"/>
                <a:gd name="T66" fmla="*/ 1036677032 w 1457"/>
                <a:gd name="T67" fmla="*/ 39476873 h 1392"/>
                <a:gd name="T68" fmla="*/ 1089197570 w 1457"/>
                <a:gd name="T69" fmla="*/ 3036481 h 1392"/>
                <a:gd name="T70" fmla="*/ 1124749700 w 1457"/>
                <a:gd name="T71" fmla="*/ 15183280 h 1392"/>
                <a:gd name="T72" fmla="*/ 1111821816 w 1457"/>
                <a:gd name="T73" fmla="*/ 61492023 h 1392"/>
                <a:gd name="T74" fmla="*/ 1127982120 w 1457"/>
                <a:gd name="T75" fmla="*/ 125262496 h 1392"/>
                <a:gd name="T76" fmla="*/ 1170806297 w 1457"/>
                <a:gd name="T77" fmla="*/ 168534739 h 1392"/>
                <a:gd name="T78" fmla="*/ 1157878413 w 1457"/>
                <a:gd name="T79" fmla="*/ 217121040 h 1392"/>
                <a:gd name="T80" fmla="*/ 1046372495 w 1457"/>
                <a:gd name="T81" fmla="*/ 236099750 h 1392"/>
                <a:gd name="T82" fmla="*/ 1033444611 w 1457"/>
                <a:gd name="T83" fmla="*/ 318089950 h 1392"/>
                <a:gd name="T84" fmla="*/ 1049604915 w 1457"/>
                <a:gd name="T85" fmla="*/ 352251879 h 1392"/>
                <a:gd name="T86" fmla="*/ 1007587945 w 1457"/>
                <a:gd name="T87" fmla="*/ 370471633 h 1392"/>
                <a:gd name="T88" fmla="*/ 1007587945 w 1457"/>
                <a:gd name="T89" fmla="*/ 422854188 h 1392"/>
                <a:gd name="T90" fmla="*/ 981732178 w 1457"/>
                <a:gd name="T91" fmla="*/ 474477950 h 1392"/>
                <a:gd name="T92" fmla="*/ 942139298 w 1457"/>
                <a:gd name="T93" fmla="*/ 548116739 h 1392"/>
                <a:gd name="T94" fmla="*/ 883962923 w 1457"/>
                <a:gd name="T95" fmla="*/ 639975282 h 1392"/>
                <a:gd name="T96" fmla="*/ 828209964 w 1457"/>
                <a:gd name="T97" fmla="*/ 661231517 h 1392"/>
                <a:gd name="T98" fmla="*/ 834673905 w 1457"/>
                <a:gd name="T99" fmla="*/ 707541111 h 1392"/>
                <a:gd name="T100" fmla="*/ 893658386 w 1457"/>
                <a:gd name="T101" fmla="*/ 762200372 h 1392"/>
                <a:gd name="T102" fmla="*/ 903354748 w 1457"/>
                <a:gd name="T103" fmla="*/ 805473486 h 1392"/>
                <a:gd name="T104" fmla="*/ 834673905 w 1457"/>
                <a:gd name="T105" fmla="*/ 829766201 h 1392"/>
                <a:gd name="T106" fmla="*/ 743368817 w 1457"/>
                <a:gd name="T107" fmla="*/ 863929002 h 1392"/>
                <a:gd name="T108" fmla="*/ 743368817 w 1457"/>
                <a:gd name="T109" fmla="*/ 921625833 h 1392"/>
                <a:gd name="T110" fmla="*/ 756296700 w 1457"/>
                <a:gd name="T111" fmla="*/ 986154310 h 1392"/>
                <a:gd name="T112" fmla="*/ 765993063 w 1457"/>
                <a:gd name="T113" fmla="*/ 1031704130 h 1392"/>
                <a:gd name="T114" fmla="*/ 698120325 w 1457"/>
                <a:gd name="T115" fmla="*/ 1056756618 h 139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457"/>
                <a:gd name="T175" fmla="*/ 0 h 1392"/>
                <a:gd name="T176" fmla="*/ 1457 w 1457"/>
                <a:gd name="T177" fmla="*/ 1392 h 139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457" h="1392">
                  <a:moveTo>
                    <a:pt x="827" y="1392"/>
                  </a:moveTo>
                  <a:lnTo>
                    <a:pt x="815" y="1388"/>
                  </a:lnTo>
                  <a:lnTo>
                    <a:pt x="791" y="1372"/>
                  </a:lnTo>
                  <a:lnTo>
                    <a:pt x="767" y="1372"/>
                  </a:lnTo>
                  <a:lnTo>
                    <a:pt x="747" y="1368"/>
                  </a:lnTo>
                  <a:lnTo>
                    <a:pt x="739" y="1364"/>
                  </a:lnTo>
                  <a:lnTo>
                    <a:pt x="731" y="1355"/>
                  </a:lnTo>
                  <a:lnTo>
                    <a:pt x="718" y="1351"/>
                  </a:lnTo>
                  <a:lnTo>
                    <a:pt x="710" y="1347"/>
                  </a:lnTo>
                  <a:lnTo>
                    <a:pt x="702" y="1339"/>
                  </a:lnTo>
                  <a:lnTo>
                    <a:pt x="698" y="1323"/>
                  </a:lnTo>
                  <a:lnTo>
                    <a:pt x="698" y="1319"/>
                  </a:lnTo>
                  <a:lnTo>
                    <a:pt x="698" y="1315"/>
                  </a:lnTo>
                  <a:lnTo>
                    <a:pt x="698" y="1311"/>
                  </a:lnTo>
                  <a:lnTo>
                    <a:pt x="702" y="1307"/>
                  </a:lnTo>
                  <a:lnTo>
                    <a:pt x="739" y="1303"/>
                  </a:lnTo>
                  <a:lnTo>
                    <a:pt x="767" y="1299"/>
                  </a:lnTo>
                  <a:lnTo>
                    <a:pt x="775" y="1291"/>
                  </a:lnTo>
                  <a:lnTo>
                    <a:pt x="783" y="1279"/>
                  </a:lnTo>
                  <a:lnTo>
                    <a:pt x="779" y="1279"/>
                  </a:lnTo>
                  <a:lnTo>
                    <a:pt x="775" y="1279"/>
                  </a:lnTo>
                  <a:lnTo>
                    <a:pt x="779" y="1226"/>
                  </a:lnTo>
                  <a:lnTo>
                    <a:pt x="779" y="1174"/>
                  </a:lnTo>
                  <a:lnTo>
                    <a:pt x="775" y="1174"/>
                  </a:lnTo>
                  <a:lnTo>
                    <a:pt x="779" y="1138"/>
                  </a:lnTo>
                  <a:lnTo>
                    <a:pt x="783" y="1101"/>
                  </a:lnTo>
                  <a:lnTo>
                    <a:pt x="775" y="1093"/>
                  </a:lnTo>
                  <a:lnTo>
                    <a:pt x="759" y="1081"/>
                  </a:lnTo>
                  <a:lnTo>
                    <a:pt x="755" y="1061"/>
                  </a:lnTo>
                  <a:lnTo>
                    <a:pt x="755" y="1041"/>
                  </a:lnTo>
                  <a:lnTo>
                    <a:pt x="739" y="1033"/>
                  </a:lnTo>
                  <a:lnTo>
                    <a:pt x="731" y="1025"/>
                  </a:lnTo>
                  <a:lnTo>
                    <a:pt x="727" y="1021"/>
                  </a:lnTo>
                  <a:lnTo>
                    <a:pt x="714" y="1013"/>
                  </a:lnTo>
                  <a:lnTo>
                    <a:pt x="710" y="1013"/>
                  </a:lnTo>
                  <a:lnTo>
                    <a:pt x="706" y="1013"/>
                  </a:lnTo>
                  <a:lnTo>
                    <a:pt x="698" y="1017"/>
                  </a:lnTo>
                  <a:lnTo>
                    <a:pt x="686" y="1021"/>
                  </a:lnTo>
                  <a:lnTo>
                    <a:pt x="678" y="1025"/>
                  </a:lnTo>
                  <a:lnTo>
                    <a:pt x="670" y="1033"/>
                  </a:lnTo>
                  <a:lnTo>
                    <a:pt x="646" y="1033"/>
                  </a:lnTo>
                  <a:lnTo>
                    <a:pt x="618" y="1029"/>
                  </a:lnTo>
                  <a:lnTo>
                    <a:pt x="618" y="1025"/>
                  </a:lnTo>
                  <a:lnTo>
                    <a:pt x="569" y="1021"/>
                  </a:lnTo>
                  <a:lnTo>
                    <a:pt x="529" y="1017"/>
                  </a:lnTo>
                  <a:lnTo>
                    <a:pt x="517" y="1008"/>
                  </a:lnTo>
                  <a:lnTo>
                    <a:pt x="505" y="996"/>
                  </a:lnTo>
                  <a:lnTo>
                    <a:pt x="472" y="1004"/>
                  </a:lnTo>
                  <a:lnTo>
                    <a:pt x="432" y="1004"/>
                  </a:lnTo>
                  <a:lnTo>
                    <a:pt x="428" y="1008"/>
                  </a:lnTo>
                  <a:lnTo>
                    <a:pt x="424" y="1008"/>
                  </a:lnTo>
                  <a:lnTo>
                    <a:pt x="396" y="1008"/>
                  </a:lnTo>
                  <a:lnTo>
                    <a:pt x="388" y="1008"/>
                  </a:lnTo>
                  <a:lnTo>
                    <a:pt x="388" y="1021"/>
                  </a:lnTo>
                  <a:lnTo>
                    <a:pt x="388" y="1029"/>
                  </a:lnTo>
                  <a:lnTo>
                    <a:pt x="372" y="1033"/>
                  </a:lnTo>
                  <a:lnTo>
                    <a:pt x="363" y="1045"/>
                  </a:lnTo>
                  <a:lnTo>
                    <a:pt x="355" y="1045"/>
                  </a:lnTo>
                  <a:lnTo>
                    <a:pt x="351" y="1045"/>
                  </a:lnTo>
                  <a:lnTo>
                    <a:pt x="343" y="1041"/>
                  </a:lnTo>
                  <a:lnTo>
                    <a:pt x="335" y="1041"/>
                  </a:lnTo>
                  <a:lnTo>
                    <a:pt x="327" y="1045"/>
                  </a:lnTo>
                  <a:lnTo>
                    <a:pt x="315" y="1045"/>
                  </a:lnTo>
                  <a:lnTo>
                    <a:pt x="315" y="1041"/>
                  </a:lnTo>
                  <a:lnTo>
                    <a:pt x="307" y="1041"/>
                  </a:lnTo>
                  <a:lnTo>
                    <a:pt x="287" y="1057"/>
                  </a:lnTo>
                  <a:lnTo>
                    <a:pt x="267" y="1069"/>
                  </a:lnTo>
                  <a:lnTo>
                    <a:pt x="246" y="1081"/>
                  </a:lnTo>
                  <a:lnTo>
                    <a:pt x="230" y="1093"/>
                  </a:lnTo>
                  <a:lnTo>
                    <a:pt x="226" y="1093"/>
                  </a:lnTo>
                  <a:lnTo>
                    <a:pt x="222" y="1097"/>
                  </a:lnTo>
                  <a:lnTo>
                    <a:pt x="202" y="1113"/>
                  </a:lnTo>
                  <a:lnTo>
                    <a:pt x="194" y="1121"/>
                  </a:lnTo>
                  <a:lnTo>
                    <a:pt x="174" y="1134"/>
                  </a:lnTo>
                  <a:lnTo>
                    <a:pt x="162" y="1142"/>
                  </a:lnTo>
                  <a:lnTo>
                    <a:pt x="146" y="1142"/>
                  </a:lnTo>
                  <a:lnTo>
                    <a:pt x="134" y="1142"/>
                  </a:lnTo>
                  <a:lnTo>
                    <a:pt x="130" y="1134"/>
                  </a:lnTo>
                  <a:lnTo>
                    <a:pt x="121" y="1121"/>
                  </a:lnTo>
                  <a:lnTo>
                    <a:pt x="113" y="1117"/>
                  </a:lnTo>
                  <a:lnTo>
                    <a:pt x="97" y="1109"/>
                  </a:lnTo>
                  <a:lnTo>
                    <a:pt x="97" y="1105"/>
                  </a:lnTo>
                  <a:lnTo>
                    <a:pt x="97" y="1097"/>
                  </a:lnTo>
                  <a:lnTo>
                    <a:pt x="85" y="1093"/>
                  </a:lnTo>
                  <a:lnTo>
                    <a:pt x="65" y="1081"/>
                  </a:lnTo>
                  <a:lnTo>
                    <a:pt x="37" y="1077"/>
                  </a:lnTo>
                  <a:lnTo>
                    <a:pt x="17" y="1073"/>
                  </a:lnTo>
                  <a:lnTo>
                    <a:pt x="8" y="1073"/>
                  </a:lnTo>
                  <a:lnTo>
                    <a:pt x="4" y="1065"/>
                  </a:lnTo>
                  <a:lnTo>
                    <a:pt x="0" y="1049"/>
                  </a:lnTo>
                  <a:lnTo>
                    <a:pt x="0" y="1041"/>
                  </a:lnTo>
                  <a:lnTo>
                    <a:pt x="4" y="1025"/>
                  </a:lnTo>
                  <a:lnTo>
                    <a:pt x="17" y="1013"/>
                  </a:lnTo>
                  <a:lnTo>
                    <a:pt x="29" y="980"/>
                  </a:lnTo>
                  <a:lnTo>
                    <a:pt x="49" y="948"/>
                  </a:lnTo>
                  <a:lnTo>
                    <a:pt x="61" y="940"/>
                  </a:lnTo>
                  <a:lnTo>
                    <a:pt x="73" y="928"/>
                  </a:lnTo>
                  <a:lnTo>
                    <a:pt x="81" y="916"/>
                  </a:lnTo>
                  <a:lnTo>
                    <a:pt x="85" y="908"/>
                  </a:lnTo>
                  <a:lnTo>
                    <a:pt x="97" y="900"/>
                  </a:lnTo>
                  <a:lnTo>
                    <a:pt x="105" y="891"/>
                  </a:lnTo>
                  <a:lnTo>
                    <a:pt x="121" y="855"/>
                  </a:lnTo>
                  <a:lnTo>
                    <a:pt x="146" y="823"/>
                  </a:lnTo>
                  <a:lnTo>
                    <a:pt x="150" y="807"/>
                  </a:lnTo>
                  <a:lnTo>
                    <a:pt x="158" y="787"/>
                  </a:lnTo>
                  <a:lnTo>
                    <a:pt x="166" y="783"/>
                  </a:lnTo>
                  <a:lnTo>
                    <a:pt x="170" y="774"/>
                  </a:lnTo>
                  <a:lnTo>
                    <a:pt x="186" y="774"/>
                  </a:lnTo>
                  <a:lnTo>
                    <a:pt x="202" y="774"/>
                  </a:lnTo>
                  <a:lnTo>
                    <a:pt x="210" y="779"/>
                  </a:lnTo>
                  <a:lnTo>
                    <a:pt x="226" y="783"/>
                  </a:lnTo>
                  <a:lnTo>
                    <a:pt x="226" y="787"/>
                  </a:lnTo>
                  <a:lnTo>
                    <a:pt x="230" y="787"/>
                  </a:lnTo>
                  <a:lnTo>
                    <a:pt x="234" y="787"/>
                  </a:lnTo>
                  <a:lnTo>
                    <a:pt x="238" y="795"/>
                  </a:lnTo>
                  <a:lnTo>
                    <a:pt x="267" y="783"/>
                  </a:lnTo>
                  <a:lnTo>
                    <a:pt x="287" y="774"/>
                  </a:lnTo>
                  <a:lnTo>
                    <a:pt x="287" y="770"/>
                  </a:lnTo>
                  <a:lnTo>
                    <a:pt x="291" y="762"/>
                  </a:lnTo>
                  <a:lnTo>
                    <a:pt x="287" y="722"/>
                  </a:lnTo>
                  <a:lnTo>
                    <a:pt x="287" y="670"/>
                  </a:lnTo>
                  <a:lnTo>
                    <a:pt x="287" y="666"/>
                  </a:lnTo>
                  <a:lnTo>
                    <a:pt x="283" y="662"/>
                  </a:lnTo>
                  <a:lnTo>
                    <a:pt x="279" y="657"/>
                  </a:lnTo>
                  <a:lnTo>
                    <a:pt x="275" y="649"/>
                  </a:lnTo>
                  <a:lnTo>
                    <a:pt x="275" y="645"/>
                  </a:lnTo>
                  <a:lnTo>
                    <a:pt x="275" y="641"/>
                  </a:lnTo>
                  <a:lnTo>
                    <a:pt x="291" y="629"/>
                  </a:lnTo>
                  <a:lnTo>
                    <a:pt x="315" y="621"/>
                  </a:lnTo>
                  <a:lnTo>
                    <a:pt x="327" y="617"/>
                  </a:lnTo>
                  <a:lnTo>
                    <a:pt x="335" y="609"/>
                  </a:lnTo>
                  <a:lnTo>
                    <a:pt x="351" y="605"/>
                  </a:lnTo>
                  <a:lnTo>
                    <a:pt x="359" y="601"/>
                  </a:lnTo>
                  <a:lnTo>
                    <a:pt x="372" y="593"/>
                  </a:lnTo>
                  <a:lnTo>
                    <a:pt x="380" y="581"/>
                  </a:lnTo>
                  <a:lnTo>
                    <a:pt x="392" y="581"/>
                  </a:lnTo>
                  <a:lnTo>
                    <a:pt x="404" y="581"/>
                  </a:lnTo>
                  <a:lnTo>
                    <a:pt x="428" y="593"/>
                  </a:lnTo>
                  <a:lnTo>
                    <a:pt x="448" y="605"/>
                  </a:lnTo>
                  <a:lnTo>
                    <a:pt x="485" y="609"/>
                  </a:lnTo>
                  <a:lnTo>
                    <a:pt x="521" y="613"/>
                  </a:lnTo>
                  <a:lnTo>
                    <a:pt x="545" y="613"/>
                  </a:lnTo>
                  <a:lnTo>
                    <a:pt x="561" y="613"/>
                  </a:lnTo>
                  <a:lnTo>
                    <a:pt x="589" y="605"/>
                  </a:lnTo>
                  <a:lnTo>
                    <a:pt x="618" y="601"/>
                  </a:lnTo>
                  <a:lnTo>
                    <a:pt x="630" y="589"/>
                  </a:lnTo>
                  <a:lnTo>
                    <a:pt x="650" y="569"/>
                  </a:lnTo>
                  <a:lnTo>
                    <a:pt x="666" y="545"/>
                  </a:lnTo>
                  <a:lnTo>
                    <a:pt x="694" y="524"/>
                  </a:lnTo>
                  <a:lnTo>
                    <a:pt x="694" y="516"/>
                  </a:lnTo>
                  <a:lnTo>
                    <a:pt x="698" y="508"/>
                  </a:lnTo>
                  <a:lnTo>
                    <a:pt x="702" y="504"/>
                  </a:lnTo>
                  <a:lnTo>
                    <a:pt x="706" y="496"/>
                  </a:lnTo>
                  <a:lnTo>
                    <a:pt x="710" y="476"/>
                  </a:lnTo>
                  <a:lnTo>
                    <a:pt x="710" y="448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18" y="423"/>
                  </a:lnTo>
                  <a:lnTo>
                    <a:pt x="731" y="415"/>
                  </a:lnTo>
                  <a:lnTo>
                    <a:pt x="739" y="411"/>
                  </a:lnTo>
                  <a:lnTo>
                    <a:pt x="763" y="399"/>
                  </a:lnTo>
                  <a:lnTo>
                    <a:pt x="775" y="391"/>
                  </a:lnTo>
                  <a:lnTo>
                    <a:pt x="775" y="375"/>
                  </a:lnTo>
                  <a:lnTo>
                    <a:pt x="779" y="363"/>
                  </a:lnTo>
                  <a:lnTo>
                    <a:pt x="779" y="327"/>
                  </a:lnTo>
                  <a:lnTo>
                    <a:pt x="779" y="294"/>
                  </a:lnTo>
                  <a:lnTo>
                    <a:pt x="787" y="290"/>
                  </a:lnTo>
                  <a:lnTo>
                    <a:pt x="795" y="286"/>
                  </a:lnTo>
                  <a:lnTo>
                    <a:pt x="811" y="286"/>
                  </a:lnTo>
                  <a:lnTo>
                    <a:pt x="823" y="282"/>
                  </a:lnTo>
                  <a:lnTo>
                    <a:pt x="827" y="274"/>
                  </a:lnTo>
                  <a:lnTo>
                    <a:pt x="831" y="274"/>
                  </a:lnTo>
                  <a:lnTo>
                    <a:pt x="840" y="270"/>
                  </a:lnTo>
                  <a:lnTo>
                    <a:pt x="848" y="262"/>
                  </a:lnTo>
                  <a:lnTo>
                    <a:pt x="876" y="258"/>
                  </a:lnTo>
                  <a:lnTo>
                    <a:pt x="900" y="254"/>
                  </a:lnTo>
                  <a:lnTo>
                    <a:pt x="904" y="250"/>
                  </a:lnTo>
                  <a:lnTo>
                    <a:pt x="908" y="246"/>
                  </a:lnTo>
                  <a:lnTo>
                    <a:pt x="912" y="222"/>
                  </a:lnTo>
                  <a:lnTo>
                    <a:pt x="912" y="206"/>
                  </a:lnTo>
                  <a:lnTo>
                    <a:pt x="924" y="198"/>
                  </a:lnTo>
                  <a:lnTo>
                    <a:pt x="932" y="181"/>
                  </a:lnTo>
                  <a:lnTo>
                    <a:pt x="957" y="173"/>
                  </a:lnTo>
                  <a:lnTo>
                    <a:pt x="985" y="161"/>
                  </a:lnTo>
                  <a:lnTo>
                    <a:pt x="989" y="157"/>
                  </a:lnTo>
                  <a:lnTo>
                    <a:pt x="997" y="153"/>
                  </a:lnTo>
                  <a:lnTo>
                    <a:pt x="1001" y="113"/>
                  </a:lnTo>
                  <a:lnTo>
                    <a:pt x="1001" y="93"/>
                  </a:lnTo>
                  <a:lnTo>
                    <a:pt x="1013" y="85"/>
                  </a:lnTo>
                  <a:lnTo>
                    <a:pt x="1021" y="77"/>
                  </a:lnTo>
                  <a:lnTo>
                    <a:pt x="1049" y="68"/>
                  </a:lnTo>
                  <a:lnTo>
                    <a:pt x="1069" y="68"/>
                  </a:lnTo>
                  <a:lnTo>
                    <a:pt x="1118" y="68"/>
                  </a:lnTo>
                  <a:lnTo>
                    <a:pt x="1166" y="68"/>
                  </a:lnTo>
                  <a:lnTo>
                    <a:pt x="1166" y="64"/>
                  </a:lnTo>
                  <a:lnTo>
                    <a:pt x="1178" y="64"/>
                  </a:lnTo>
                  <a:lnTo>
                    <a:pt x="1182" y="64"/>
                  </a:lnTo>
                  <a:lnTo>
                    <a:pt x="1182" y="68"/>
                  </a:lnTo>
                  <a:lnTo>
                    <a:pt x="1211" y="68"/>
                  </a:lnTo>
                  <a:lnTo>
                    <a:pt x="1235" y="68"/>
                  </a:lnTo>
                  <a:lnTo>
                    <a:pt x="1259" y="64"/>
                  </a:lnTo>
                  <a:lnTo>
                    <a:pt x="1279" y="64"/>
                  </a:lnTo>
                  <a:lnTo>
                    <a:pt x="1283" y="56"/>
                  </a:lnTo>
                  <a:lnTo>
                    <a:pt x="1283" y="52"/>
                  </a:lnTo>
                  <a:lnTo>
                    <a:pt x="1283" y="48"/>
                  </a:lnTo>
                  <a:lnTo>
                    <a:pt x="1291" y="40"/>
                  </a:lnTo>
                  <a:lnTo>
                    <a:pt x="1307" y="28"/>
                  </a:lnTo>
                  <a:lnTo>
                    <a:pt x="1320" y="16"/>
                  </a:lnTo>
                  <a:lnTo>
                    <a:pt x="1336" y="8"/>
                  </a:lnTo>
                  <a:lnTo>
                    <a:pt x="1348" y="4"/>
                  </a:lnTo>
                  <a:lnTo>
                    <a:pt x="1364" y="0"/>
                  </a:lnTo>
                  <a:lnTo>
                    <a:pt x="1396" y="0"/>
                  </a:lnTo>
                  <a:lnTo>
                    <a:pt x="1400" y="4"/>
                  </a:lnTo>
                  <a:lnTo>
                    <a:pt x="1408" y="12"/>
                  </a:lnTo>
                  <a:lnTo>
                    <a:pt x="1400" y="16"/>
                  </a:lnTo>
                  <a:lnTo>
                    <a:pt x="1392" y="20"/>
                  </a:lnTo>
                  <a:lnTo>
                    <a:pt x="1384" y="20"/>
                  </a:lnTo>
                  <a:lnTo>
                    <a:pt x="1380" y="28"/>
                  </a:lnTo>
                  <a:lnTo>
                    <a:pt x="1384" y="48"/>
                  </a:lnTo>
                  <a:lnTo>
                    <a:pt x="1380" y="64"/>
                  </a:lnTo>
                  <a:lnTo>
                    <a:pt x="1376" y="68"/>
                  </a:lnTo>
                  <a:lnTo>
                    <a:pt x="1376" y="81"/>
                  </a:lnTo>
                  <a:lnTo>
                    <a:pt x="1376" y="89"/>
                  </a:lnTo>
                  <a:lnTo>
                    <a:pt x="1384" y="113"/>
                  </a:lnTo>
                  <a:lnTo>
                    <a:pt x="1400" y="133"/>
                  </a:lnTo>
                  <a:lnTo>
                    <a:pt x="1400" y="141"/>
                  </a:lnTo>
                  <a:lnTo>
                    <a:pt x="1400" y="153"/>
                  </a:lnTo>
                  <a:lnTo>
                    <a:pt x="1396" y="165"/>
                  </a:lnTo>
                  <a:lnTo>
                    <a:pt x="1384" y="181"/>
                  </a:lnTo>
                  <a:lnTo>
                    <a:pt x="1384" y="189"/>
                  </a:lnTo>
                  <a:lnTo>
                    <a:pt x="1384" y="198"/>
                  </a:lnTo>
                  <a:lnTo>
                    <a:pt x="1424" y="206"/>
                  </a:lnTo>
                  <a:lnTo>
                    <a:pt x="1441" y="210"/>
                  </a:lnTo>
                  <a:lnTo>
                    <a:pt x="1449" y="222"/>
                  </a:lnTo>
                  <a:lnTo>
                    <a:pt x="1457" y="234"/>
                  </a:lnTo>
                  <a:lnTo>
                    <a:pt x="1457" y="246"/>
                  </a:lnTo>
                  <a:lnTo>
                    <a:pt x="1457" y="262"/>
                  </a:lnTo>
                  <a:lnTo>
                    <a:pt x="1453" y="270"/>
                  </a:lnTo>
                  <a:lnTo>
                    <a:pt x="1453" y="274"/>
                  </a:lnTo>
                  <a:lnTo>
                    <a:pt x="1433" y="286"/>
                  </a:lnTo>
                  <a:lnTo>
                    <a:pt x="1412" y="294"/>
                  </a:lnTo>
                  <a:lnTo>
                    <a:pt x="1380" y="298"/>
                  </a:lnTo>
                  <a:lnTo>
                    <a:pt x="1348" y="306"/>
                  </a:lnTo>
                  <a:lnTo>
                    <a:pt x="1328" y="306"/>
                  </a:lnTo>
                  <a:lnTo>
                    <a:pt x="1312" y="306"/>
                  </a:lnTo>
                  <a:lnTo>
                    <a:pt x="1295" y="311"/>
                  </a:lnTo>
                  <a:lnTo>
                    <a:pt x="1283" y="323"/>
                  </a:lnTo>
                  <a:lnTo>
                    <a:pt x="1279" y="351"/>
                  </a:lnTo>
                  <a:lnTo>
                    <a:pt x="1271" y="379"/>
                  </a:lnTo>
                  <a:lnTo>
                    <a:pt x="1271" y="395"/>
                  </a:lnTo>
                  <a:lnTo>
                    <a:pt x="1271" y="411"/>
                  </a:lnTo>
                  <a:lnTo>
                    <a:pt x="1279" y="419"/>
                  </a:lnTo>
                  <a:lnTo>
                    <a:pt x="1283" y="428"/>
                  </a:lnTo>
                  <a:lnTo>
                    <a:pt x="1283" y="440"/>
                  </a:lnTo>
                  <a:lnTo>
                    <a:pt x="1291" y="448"/>
                  </a:lnTo>
                  <a:lnTo>
                    <a:pt x="1295" y="452"/>
                  </a:lnTo>
                  <a:lnTo>
                    <a:pt x="1299" y="460"/>
                  </a:lnTo>
                  <a:lnTo>
                    <a:pt x="1299" y="464"/>
                  </a:lnTo>
                  <a:lnTo>
                    <a:pt x="1299" y="476"/>
                  </a:lnTo>
                  <a:lnTo>
                    <a:pt x="1295" y="480"/>
                  </a:lnTo>
                  <a:lnTo>
                    <a:pt x="1291" y="480"/>
                  </a:lnTo>
                  <a:lnTo>
                    <a:pt x="1271" y="480"/>
                  </a:lnTo>
                  <a:lnTo>
                    <a:pt x="1255" y="480"/>
                  </a:lnTo>
                  <a:lnTo>
                    <a:pt x="1247" y="488"/>
                  </a:lnTo>
                  <a:lnTo>
                    <a:pt x="1243" y="492"/>
                  </a:lnTo>
                  <a:lnTo>
                    <a:pt x="1235" y="508"/>
                  </a:lnTo>
                  <a:lnTo>
                    <a:pt x="1235" y="532"/>
                  </a:lnTo>
                  <a:lnTo>
                    <a:pt x="1243" y="536"/>
                  </a:lnTo>
                  <a:lnTo>
                    <a:pt x="1247" y="545"/>
                  </a:lnTo>
                  <a:lnTo>
                    <a:pt x="1247" y="557"/>
                  </a:lnTo>
                  <a:lnTo>
                    <a:pt x="1247" y="569"/>
                  </a:lnTo>
                  <a:lnTo>
                    <a:pt x="1235" y="577"/>
                  </a:lnTo>
                  <a:lnTo>
                    <a:pt x="1227" y="581"/>
                  </a:lnTo>
                  <a:lnTo>
                    <a:pt x="1219" y="593"/>
                  </a:lnTo>
                  <a:lnTo>
                    <a:pt x="1215" y="609"/>
                  </a:lnTo>
                  <a:lnTo>
                    <a:pt x="1215" y="625"/>
                  </a:lnTo>
                  <a:lnTo>
                    <a:pt x="1211" y="645"/>
                  </a:lnTo>
                  <a:lnTo>
                    <a:pt x="1199" y="674"/>
                  </a:lnTo>
                  <a:lnTo>
                    <a:pt x="1182" y="698"/>
                  </a:lnTo>
                  <a:lnTo>
                    <a:pt x="1178" y="706"/>
                  </a:lnTo>
                  <a:lnTo>
                    <a:pt x="1166" y="710"/>
                  </a:lnTo>
                  <a:lnTo>
                    <a:pt x="1166" y="722"/>
                  </a:lnTo>
                  <a:lnTo>
                    <a:pt x="1154" y="726"/>
                  </a:lnTo>
                  <a:lnTo>
                    <a:pt x="1142" y="738"/>
                  </a:lnTo>
                  <a:lnTo>
                    <a:pt x="1122" y="742"/>
                  </a:lnTo>
                  <a:lnTo>
                    <a:pt x="1118" y="783"/>
                  </a:lnTo>
                  <a:lnTo>
                    <a:pt x="1114" y="823"/>
                  </a:lnTo>
                  <a:lnTo>
                    <a:pt x="1094" y="843"/>
                  </a:lnTo>
                  <a:lnTo>
                    <a:pt x="1078" y="855"/>
                  </a:lnTo>
                  <a:lnTo>
                    <a:pt x="1069" y="855"/>
                  </a:lnTo>
                  <a:lnTo>
                    <a:pt x="1053" y="859"/>
                  </a:lnTo>
                  <a:lnTo>
                    <a:pt x="1053" y="863"/>
                  </a:lnTo>
                  <a:lnTo>
                    <a:pt x="1037" y="867"/>
                  </a:lnTo>
                  <a:lnTo>
                    <a:pt x="1025" y="871"/>
                  </a:lnTo>
                  <a:lnTo>
                    <a:pt x="1021" y="879"/>
                  </a:lnTo>
                  <a:lnTo>
                    <a:pt x="1021" y="908"/>
                  </a:lnTo>
                  <a:lnTo>
                    <a:pt x="1021" y="920"/>
                  </a:lnTo>
                  <a:lnTo>
                    <a:pt x="1025" y="920"/>
                  </a:lnTo>
                  <a:lnTo>
                    <a:pt x="1033" y="928"/>
                  </a:lnTo>
                  <a:lnTo>
                    <a:pt x="1033" y="932"/>
                  </a:lnTo>
                  <a:lnTo>
                    <a:pt x="1037" y="952"/>
                  </a:lnTo>
                  <a:lnTo>
                    <a:pt x="1053" y="956"/>
                  </a:lnTo>
                  <a:lnTo>
                    <a:pt x="1073" y="964"/>
                  </a:lnTo>
                  <a:lnTo>
                    <a:pt x="1078" y="980"/>
                  </a:lnTo>
                  <a:lnTo>
                    <a:pt x="1086" y="992"/>
                  </a:lnTo>
                  <a:lnTo>
                    <a:pt x="1106" y="1004"/>
                  </a:lnTo>
                  <a:lnTo>
                    <a:pt x="1126" y="1008"/>
                  </a:lnTo>
                  <a:lnTo>
                    <a:pt x="1126" y="1021"/>
                  </a:lnTo>
                  <a:lnTo>
                    <a:pt x="1126" y="1029"/>
                  </a:lnTo>
                  <a:lnTo>
                    <a:pt x="1122" y="1033"/>
                  </a:lnTo>
                  <a:lnTo>
                    <a:pt x="1118" y="1049"/>
                  </a:lnTo>
                  <a:lnTo>
                    <a:pt x="1118" y="1061"/>
                  </a:lnTo>
                  <a:lnTo>
                    <a:pt x="1106" y="1069"/>
                  </a:lnTo>
                  <a:lnTo>
                    <a:pt x="1098" y="1081"/>
                  </a:lnTo>
                  <a:lnTo>
                    <a:pt x="1065" y="1081"/>
                  </a:lnTo>
                  <a:lnTo>
                    <a:pt x="1037" y="1089"/>
                  </a:lnTo>
                  <a:lnTo>
                    <a:pt x="1033" y="1089"/>
                  </a:lnTo>
                  <a:lnTo>
                    <a:pt x="1033" y="1093"/>
                  </a:lnTo>
                  <a:lnTo>
                    <a:pt x="989" y="1097"/>
                  </a:lnTo>
                  <a:lnTo>
                    <a:pt x="981" y="1101"/>
                  </a:lnTo>
                  <a:lnTo>
                    <a:pt x="977" y="1101"/>
                  </a:lnTo>
                  <a:lnTo>
                    <a:pt x="973" y="1105"/>
                  </a:lnTo>
                  <a:lnTo>
                    <a:pt x="948" y="1121"/>
                  </a:lnTo>
                  <a:lnTo>
                    <a:pt x="920" y="1138"/>
                  </a:lnTo>
                  <a:lnTo>
                    <a:pt x="920" y="1154"/>
                  </a:lnTo>
                  <a:lnTo>
                    <a:pt x="908" y="1174"/>
                  </a:lnTo>
                  <a:lnTo>
                    <a:pt x="912" y="1182"/>
                  </a:lnTo>
                  <a:lnTo>
                    <a:pt x="920" y="1182"/>
                  </a:lnTo>
                  <a:lnTo>
                    <a:pt x="920" y="1198"/>
                  </a:lnTo>
                  <a:lnTo>
                    <a:pt x="920" y="1214"/>
                  </a:lnTo>
                  <a:lnTo>
                    <a:pt x="924" y="1230"/>
                  </a:lnTo>
                  <a:lnTo>
                    <a:pt x="928" y="1234"/>
                  </a:lnTo>
                  <a:lnTo>
                    <a:pt x="932" y="1251"/>
                  </a:lnTo>
                  <a:lnTo>
                    <a:pt x="936" y="1267"/>
                  </a:lnTo>
                  <a:lnTo>
                    <a:pt x="936" y="1287"/>
                  </a:lnTo>
                  <a:lnTo>
                    <a:pt x="936" y="1299"/>
                  </a:lnTo>
                  <a:lnTo>
                    <a:pt x="948" y="1307"/>
                  </a:lnTo>
                  <a:lnTo>
                    <a:pt x="957" y="1319"/>
                  </a:lnTo>
                  <a:lnTo>
                    <a:pt x="957" y="1331"/>
                  </a:lnTo>
                  <a:lnTo>
                    <a:pt x="957" y="1347"/>
                  </a:lnTo>
                  <a:lnTo>
                    <a:pt x="952" y="1351"/>
                  </a:lnTo>
                  <a:lnTo>
                    <a:pt x="948" y="1359"/>
                  </a:lnTo>
                  <a:lnTo>
                    <a:pt x="944" y="1364"/>
                  </a:lnTo>
                  <a:lnTo>
                    <a:pt x="932" y="1368"/>
                  </a:lnTo>
                  <a:lnTo>
                    <a:pt x="904" y="1372"/>
                  </a:lnTo>
                  <a:lnTo>
                    <a:pt x="876" y="1380"/>
                  </a:lnTo>
                  <a:lnTo>
                    <a:pt x="868" y="1384"/>
                  </a:lnTo>
                  <a:lnTo>
                    <a:pt x="864" y="1392"/>
                  </a:lnTo>
                  <a:lnTo>
                    <a:pt x="844" y="1392"/>
                  </a:lnTo>
                  <a:lnTo>
                    <a:pt x="827" y="1392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1300"/>
            </a:p>
          </p:txBody>
        </p:sp>
        <p:sp>
          <p:nvSpPr>
            <p:cNvPr id="133" name="Freeform 41"/>
            <p:cNvSpPr>
              <a:spLocks/>
            </p:cNvSpPr>
            <p:nvPr/>
          </p:nvSpPr>
          <p:spPr bwMode="auto">
            <a:xfrm>
              <a:off x="1252621" y="3601210"/>
              <a:ext cx="1003300" cy="689091"/>
            </a:xfrm>
            <a:custGeom>
              <a:avLst/>
              <a:gdLst>
                <a:gd name="T0" fmla="*/ 2147483647 w 1118"/>
                <a:gd name="T1" fmla="*/ 2147483647 h 774"/>
                <a:gd name="T2" fmla="*/ 2147483647 w 1118"/>
                <a:gd name="T3" fmla="*/ 2147483647 h 774"/>
                <a:gd name="T4" fmla="*/ 2147483647 w 1118"/>
                <a:gd name="T5" fmla="*/ 2147483647 h 774"/>
                <a:gd name="T6" fmla="*/ 2147483647 w 1118"/>
                <a:gd name="T7" fmla="*/ 2147483647 h 774"/>
                <a:gd name="T8" fmla="*/ 2147483647 w 1118"/>
                <a:gd name="T9" fmla="*/ 2147483647 h 774"/>
                <a:gd name="T10" fmla="*/ 2147483647 w 1118"/>
                <a:gd name="T11" fmla="*/ 2147483647 h 774"/>
                <a:gd name="T12" fmla="*/ 2147483647 w 1118"/>
                <a:gd name="T13" fmla="*/ 2147483647 h 774"/>
                <a:gd name="T14" fmla="*/ 2147483647 w 1118"/>
                <a:gd name="T15" fmla="*/ 2147483647 h 774"/>
                <a:gd name="T16" fmla="*/ 2147483647 w 1118"/>
                <a:gd name="T17" fmla="*/ 2147483647 h 774"/>
                <a:gd name="T18" fmla="*/ 2147483647 w 1118"/>
                <a:gd name="T19" fmla="*/ 2147483647 h 774"/>
                <a:gd name="T20" fmla="*/ 2147483647 w 1118"/>
                <a:gd name="T21" fmla="*/ 2147483647 h 774"/>
                <a:gd name="T22" fmla="*/ 2147483647 w 1118"/>
                <a:gd name="T23" fmla="*/ 2147483647 h 774"/>
                <a:gd name="T24" fmla="*/ 0 w 1118"/>
                <a:gd name="T25" fmla="*/ 2147483647 h 774"/>
                <a:gd name="T26" fmla="*/ 2147483647 w 1118"/>
                <a:gd name="T27" fmla="*/ 2147483647 h 774"/>
                <a:gd name="T28" fmla="*/ 2147483647 w 1118"/>
                <a:gd name="T29" fmla="*/ 2147483647 h 774"/>
                <a:gd name="T30" fmla="*/ 2147483647 w 1118"/>
                <a:gd name="T31" fmla="*/ 2147483647 h 774"/>
                <a:gd name="T32" fmla="*/ 2147483647 w 1118"/>
                <a:gd name="T33" fmla="*/ 2147483647 h 774"/>
                <a:gd name="T34" fmla="*/ 2147483647 w 1118"/>
                <a:gd name="T35" fmla="*/ 2147483647 h 774"/>
                <a:gd name="T36" fmla="*/ 2147483647 w 1118"/>
                <a:gd name="T37" fmla="*/ 2147483647 h 774"/>
                <a:gd name="T38" fmla="*/ 2147483647 w 1118"/>
                <a:gd name="T39" fmla="*/ 2147483647 h 774"/>
                <a:gd name="T40" fmla="*/ 2147483647 w 1118"/>
                <a:gd name="T41" fmla="*/ 2147483647 h 774"/>
                <a:gd name="T42" fmla="*/ 2147483647 w 1118"/>
                <a:gd name="T43" fmla="*/ 2147483647 h 774"/>
                <a:gd name="T44" fmla="*/ 2147483647 w 1118"/>
                <a:gd name="T45" fmla="*/ 2147483647 h 774"/>
                <a:gd name="T46" fmla="*/ 2147483647 w 1118"/>
                <a:gd name="T47" fmla="*/ 2147483647 h 774"/>
                <a:gd name="T48" fmla="*/ 2147483647 w 1118"/>
                <a:gd name="T49" fmla="*/ 2147483647 h 774"/>
                <a:gd name="T50" fmla="*/ 2147483647 w 1118"/>
                <a:gd name="T51" fmla="*/ 2147483647 h 774"/>
                <a:gd name="T52" fmla="*/ 2147483647 w 1118"/>
                <a:gd name="T53" fmla="*/ 2147483647 h 774"/>
                <a:gd name="T54" fmla="*/ 2147483647 w 1118"/>
                <a:gd name="T55" fmla="*/ 2147483647 h 774"/>
                <a:gd name="T56" fmla="*/ 2147483647 w 1118"/>
                <a:gd name="T57" fmla="*/ 2147483647 h 774"/>
                <a:gd name="T58" fmla="*/ 2147483647 w 1118"/>
                <a:gd name="T59" fmla="*/ 2147483647 h 774"/>
                <a:gd name="T60" fmla="*/ 2147483647 w 1118"/>
                <a:gd name="T61" fmla="*/ 2147483647 h 774"/>
                <a:gd name="T62" fmla="*/ 2147483647 w 1118"/>
                <a:gd name="T63" fmla="*/ 2147483647 h 774"/>
                <a:gd name="T64" fmla="*/ 2147483647 w 1118"/>
                <a:gd name="T65" fmla="*/ 2147483647 h 774"/>
                <a:gd name="T66" fmla="*/ 2147483647 w 1118"/>
                <a:gd name="T67" fmla="*/ 2147483647 h 774"/>
                <a:gd name="T68" fmla="*/ 2147483647 w 1118"/>
                <a:gd name="T69" fmla="*/ 2147483647 h 774"/>
                <a:gd name="T70" fmla="*/ 2147483647 w 1118"/>
                <a:gd name="T71" fmla="*/ 2147483647 h 774"/>
                <a:gd name="T72" fmla="*/ 2147483647 w 1118"/>
                <a:gd name="T73" fmla="*/ 2147483647 h 774"/>
                <a:gd name="T74" fmla="*/ 2147483647 w 1118"/>
                <a:gd name="T75" fmla="*/ 2147483647 h 774"/>
                <a:gd name="T76" fmla="*/ 2147483647 w 1118"/>
                <a:gd name="T77" fmla="*/ 2147483647 h 774"/>
                <a:gd name="T78" fmla="*/ 2147483647 w 1118"/>
                <a:gd name="T79" fmla="*/ 2147483647 h 774"/>
                <a:gd name="T80" fmla="*/ 2147483647 w 1118"/>
                <a:gd name="T81" fmla="*/ 2147483647 h 774"/>
                <a:gd name="T82" fmla="*/ 2147483647 w 1118"/>
                <a:gd name="T83" fmla="*/ 2147483647 h 774"/>
                <a:gd name="T84" fmla="*/ 2147483647 w 1118"/>
                <a:gd name="T85" fmla="*/ 2147483647 h 774"/>
                <a:gd name="T86" fmla="*/ 2147483647 w 1118"/>
                <a:gd name="T87" fmla="*/ 2147483647 h 774"/>
                <a:gd name="T88" fmla="*/ 2147483647 w 1118"/>
                <a:gd name="T89" fmla="*/ 2147483647 h 774"/>
                <a:gd name="T90" fmla="*/ 2147483647 w 1118"/>
                <a:gd name="T91" fmla="*/ 2147483647 h 774"/>
                <a:gd name="T92" fmla="*/ 2147483647 w 1118"/>
                <a:gd name="T93" fmla="*/ 2147483647 h 774"/>
                <a:gd name="T94" fmla="*/ 2147483647 w 1118"/>
                <a:gd name="T95" fmla="*/ 2147483647 h 774"/>
                <a:gd name="T96" fmla="*/ 2147483647 w 1118"/>
                <a:gd name="T97" fmla="*/ 2147483647 h 774"/>
                <a:gd name="T98" fmla="*/ 2147483647 w 1118"/>
                <a:gd name="T99" fmla="*/ 2147483647 h 774"/>
                <a:gd name="T100" fmla="*/ 2147483647 w 1118"/>
                <a:gd name="T101" fmla="*/ 2147483647 h 77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8"/>
                <a:gd name="T154" fmla="*/ 0 h 774"/>
                <a:gd name="T155" fmla="*/ 1118 w 1118"/>
                <a:gd name="T156" fmla="*/ 774 h 77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8" h="774">
                  <a:moveTo>
                    <a:pt x="638" y="774"/>
                  </a:moveTo>
                  <a:lnTo>
                    <a:pt x="626" y="766"/>
                  </a:lnTo>
                  <a:lnTo>
                    <a:pt x="614" y="762"/>
                  </a:lnTo>
                  <a:lnTo>
                    <a:pt x="614" y="758"/>
                  </a:lnTo>
                  <a:lnTo>
                    <a:pt x="609" y="758"/>
                  </a:lnTo>
                  <a:lnTo>
                    <a:pt x="597" y="754"/>
                  </a:lnTo>
                  <a:lnTo>
                    <a:pt x="589" y="750"/>
                  </a:lnTo>
                  <a:lnTo>
                    <a:pt x="577" y="726"/>
                  </a:lnTo>
                  <a:lnTo>
                    <a:pt x="561" y="706"/>
                  </a:lnTo>
                  <a:lnTo>
                    <a:pt x="561" y="698"/>
                  </a:lnTo>
                  <a:lnTo>
                    <a:pt x="557" y="682"/>
                  </a:lnTo>
                  <a:lnTo>
                    <a:pt x="553" y="673"/>
                  </a:lnTo>
                  <a:lnTo>
                    <a:pt x="541" y="661"/>
                  </a:lnTo>
                  <a:lnTo>
                    <a:pt x="529" y="653"/>
                  </a:lnTo>
                  <a:lnTo>
                    <a:pt x="517" y="641"/>
                  </a:lnTo>
                  <a:lnTo>
                    <a:pt x="488" y="625"/>
                  </a:lnTo>
                  <a:lnTo>
                    <a:pt x="480" y="613"/>
                  </a:lnTo>
                  <a:lnTo>
                    <a:pt x="476" y="597"/>
                  </a:lnTo>
                  <a:lnTo>
                    <a:pt x="476" y="585"/>
                  </a:lnTo>
                  <a:lnTo>
                    <a:pt x="472" y="585"/>
                  </a:lnTo>
                  <a:lnTo>
                    <a:pt x="468" y="581"/>
                  </a:lnTo>
                  <a:lnTo>
                    <a:pt x="448" y="581"/>
                  </a:lnTo>
                  <a:lnTo>
                    <a:pt x="432" y="581"/>
                  </a:lnTo>
                  <a:lnTo>
                    <a:pt x="416" y="585"/>
                  </a:lnTo>
                  <a:lnTo>
                    <a:pt x="404" y="589"/>
                  </a:lnTo>
                  <a:lnTo>
                    <a:pt x="380" y="585"/>
                  </a:lnTo>
                  <a:lnTo>
                    <a:pt x="359" y="585"/>
                  </a:lnTo>
                  <a:lnTo>
                    <a:pt x="315" y="597"/>
                  </a:lnTo>
                  <a:lnTo>
                    <a:pt x="267" y="613"/>
                  </a:lnTo>
                  <a:lnTo>
                    <a:pt x="226" y="617"/>
                  </a:lnTo>
                  <a:lnTo>
                    <a:pt x="214" y="621"/>
                  </a:lnTo>
                  <a:lnTo>
                    <a:pt x="198" y="621"/>
                  </a:lnTo>
                  <a:lnTo>
                    <a:pt x="178" y="621"/>
                  </a:lnTo>
                  <a:lnTo>
                    <a:pt x="174" y="605"/>
                  </a:lnTo>
                  <a:lnTo>
                    <a:pt x="146" y="585"/>
                  </a:lnTo>
                  <a:lnTo>
                    <a:pt x="109" y="561"/>
                  </a:lnTo>
                  <a:lnTo>
                    <a:pt x="89" y="556"/>
                  </a:lnTo>
                  <a:lnTo>
                    <a:pt x="77" y="556"/>
                  </a:lnTo>
                  <a:lnTo>
                    <a:pt x="57" y="552"/>
                  </a:lnTo>
                  <a:lnTo>
                    <a:pt x="57" y="528"/>
                  </a:lnTo>
                  <a:lnTo>
                    <a:pt x="53" y="500"/>
                  </a:lnTo>
                  <a:lnTo>
                    <a:pt x="53" y="492"/>
                  </a:lnTo>
                  <a:lnTo>
                    <a:pt x="49" y="484"/>
                  </a:lnTo>
                  <a:lnTo>
                    <a:pt x="45" y="472"/>
                  </a:lnTo>
                  <a:lnTo>
                    <a:pt x="33" y="468"/>
                  </a:lnTo>
                  <a:lnTo>
                    <a:pt x="25" y="448"/>
                  </a:lnTo>
                  <a:lnTo>
                    <a:pt x="16" y="427"/>
                  </a:lnTo>
                  <a:lnTo>
                    <a:pt x="8" y="395"/>
                  </a:lnTo>
                  <a:lnTo>
                    <a:pt x="4" y="363"/>
                  </a:lnTo>
                  <a:lnTo>
                    <a:pt x="0" y="363"/>
                  </a:lnTo>
                  <a:lnTo>
                    <a:pt x="0" y="359"/>
                  </a:lnTo>
                  <a:lnTo>
                    <a:pt x="0" y="347"/>
                  </a:lnTo>
                  <a:lnTo>
                    <a:pt x="0" y="331"/>
                  </a:lnTo>
                  <a:lnTo>
                    <a:pt x="4" y="331"/>
                  </a:lnTo>
                  <a:lnTo>
                    <a:pt x="8" y="327"/>
                  </a:lnTo>
                  <a:lnTo>
                    <a:pt x="20" y="306"/>
                  </a:lnTo>
                  <a:lnTo>
                    <a:pt x="33" y="290"/>
                  </a:lnTo>
                  <a:lnTo>
                    <a:pt x="37" y="290"/>
                  </a:lnTo>
                  <a:lnTo>
                    <a:pt x="49" y="290"/>
                  </a:lnTo>
                  <a:lnTo>
                    <a:pt x="61" y="302"/>
                  </a:lnTo>
                  <a:lnTo>
                    <a:pt x="81" y="310"/>
                  </a:lnTo>
                  <a:lnTo>
                    <a:pt x="89" y="310"/>
                  </a:lnTo>
                  <a:lnTo>
                    <a:pt x="97" y="310"/>
                  </a:lnTo>
                  <a:lnTo>
                    <a:pt x="109" y="306"/>
                  </a:lnTo>
                  <a:lnTo>
                    <a:pt x="121" y="306"/>
                  </a:lnTo>
                  <a:lnTo>
                    <a:pt x="125" y="298"/>
                  </a:lnTo>
                  <a:lnTo>
                    <a:pt x="129" y="294"/>
                  </a:lnTo>
                  <a:lnTo>
                    <a:pt x="146" y="294"/>
                  </a:lnTo>
                  <a:lnTo>
                    <a:pt x="166" y="294"/>
                  </a:lnTo>
                  <a:lnTo>
                    <a:pt x="174" y="298"/>
                  </a:lnTo>
                  <a:lnTo>
                    <a:pt x="194" y="298"/>
                  </a:lnTo>
                  <a:lnTo>
                    <a:pt x="202" y="286"/>
                  </a:lnTo>
                  <a:lnTo>
                    <a:pt x="218" y="278"/>
                  </a:lnTo>
                  <a:lnTo>
                    <a:pt x="238" y="274"/>
                  </a:lnTo>
                  <a:lnTo>
                    <a:pt x="242" y="266"/>
                  </a:lnTo>
                  <a:lnTo>
                    <a:pt x="315" y="266"/>
                  </a:lnTo>
                  <a:lnTo>
                    <a:pt x="359" y="262"/>
                  </a:lnTo>
                  <a:lnTo>
                    <a:pt x="388" y="250"/>
                  </a:lnTo>
                  <a:lnTo>
                    <a:pt x="408" y="230"/>
                  </a:lnTo>
                  <a:lnTo>
                    <a:pt x="440" y="230"/>
                  </a:lnTo>
                  <a:lnTo>
                    <a:pt x="468" y="230"/>
                  </a:lnTo>
                  <a:lnTo>
                    <a:pt x="476" y="230"/>
                  </a:lnTo>
                  <a:lnTo>
                    <a:pt x="480" y="218"/>
                  </a:lnTo>
                  <a:lnTo>
                    <a:pt x="488" y="214"/>
                  </a:lnTo>
                  <a:lnTo>
                    <a:pt x="505" y="210"/>
                  </a:lnTo>
                  <a:lnTo>
                    <a:pt x="513" y="205"/>
                  </a:lnTo>
                  <a:lnTo>
                    <a:pt x="517" y="193"/>
                  </a:lnTo>
                  <a:lnTo>
                    <a:pt x="525" y="193"/>
                  </a:lnTo>
                  <a:lnTo>
                    <a:pt x="529" y="193"/>
                  </a:lnTo>
                  <a:lnTo>
                    <a:pt x="537" y="189"/>
                  </a:lnTo>
                  <a:lnTo>
                    <a:pt x="549" y="177"/>
                  </a:lnTo>
                  <a:lnTo>
                    <a:pt x="549" y="169"/>
                  </a:lnTo>
                  <a:lnTo>
                    <a:pt x="553" y="157"/>
                  </a:lnTo>
                  <a:lnTo>
                    <a:pt x="549" y="153"/>
                  </a:lnTo>
                  <a:lnTo>
                    <a:pt x="541" y="141"/>
                  </a:lnTo>
                  <a:lnTo>
                    <a:pt x="541" y="133"/>
                  </a:lnTo>
                  <a:lnTo>
                    <a:pt x="541" y="129"/>
                  </a:lnTo>
                  <a:lnTo>
                    <a:pt x="553" y="121"/>
                  </a:lnTo>
                  <a:lnTo>
                    <a:pt x="557" y="109"/>
                  </a:lnTo>
                  <a:lnTo>
                    <a:pt x="573" y="105"/>
                  </a:lnTo>
                  <a:lnTo>
                    <a:pt x="585" y="97"/>
                  </a:lnTo>
                  <a:lnTo>
                    <a:pt x="585" y="93"/>
                  </a:lnTo>
                  <a:lnTo>
                    <a:pt x="585" y="88"/>
                  </a:lnTo>
                  <a:lnTo>
                    <a:pt x="581" y="84"/>
                  </a:lnTo>
                  <a:lnTo>
                    <a:pt x="577" y="80"/>
                  </a:lnTo>
                  <a:lnTo>
                    <a:pt x="565" y="80"/>
                  </a:lnTo>
                  <a:lnTo>
                    <a:pt x="557" y="76"/>
                  </a:lnTo>
                  <a:lnTo>
                    <a:pt x="557" y="72"/>
                  </a:lnTo>
                  <a:lnTo>
                    <a:pt x="557" y="60"/>
                  </a:lnTo>
                  <a:lnTo>
                    <a:pt x="561" y="56"/>
                  </a:lnTo>
                  <a:lnTo>
                    <a:pt x="561" y="40"/>
                  </a:lnTo>
                  <a:lnTo>
                    <a:pt x="561" y="20"/>
                  </a:lnTo>
                  <a:lnTo>
                    <a:pt x="573" y="12"/>
                  </a:lnTo>
                  <a:lnTo>
                    <a:pt x="597" y="0"/>
                  </a:lnTo>
                  <a:lnTo>
                    <a:pt x="638" y="4"/>
                  </a:lnTo>
                  <a:lnTo>
                    <a:pt x="678" y="4"/>
                  </a:lnTo>
                  <a:lnTo>
                    <a:pt x="682" y="8"/>
                  </a:lnTo>
                  <a:lnTo>
                    <a:pt x="690" y="8"/>
                  </a:lnTo>
                  <a:lnTo>
                    <a:pt x="694" y="20"/>
                  </a:lnTo>
                  <a:lnTo>
                    <a:pt x="698" y="28"/>
                  </a:lnTo>
                  <a:lnTo>
                    <a:pt x="702" y="32"/>
                  </a:lnTo>
                  <a:lnTo>
                    <a:pt x="706" y="36"/>
                  </a:lnTo>
                  <a:lnTo>
                    <a:pt x="747" y="40"/>
                  </a:lnTo>
                  <a:lnTo>
                    <a:pt x="783" y="48"/>
                  </a:lnTo>
                  <a:lnTo>
                    <a:pt x="783" y="60"/>
                  </a:lnTo>
                  <a:lnTo>
                    <a:pt x="787" y="76"/>
                  </a:lnTo>
                  <a:lnTo>
                    <a:pt x="787" y="105"/>
                  </a:lnTo>
                  <a:lnTo>
                    <a:pt x="787" y="137"/>
                  </a:lnTo>
                  <a:lnTo>
                    <a:pt x="807" y="145"/>
                  </a:lnTo>
                  <a:lnTo>
                    <a:pt x="823" y="153"/>
                  </a:lnTo>
                  <a:lnTo>
                    <a:pt x="827" y="157"/>
                  </a:lnTo>
                  <a:lnTo>
                    <a:pt x="831" y="165"/>
                  </a:lnTo>
                  <a:lnTo>
                    <a:pt x="843" y="169"/>
                  </a:lnTo>
                  <a:lnTo>
                    <a:pt x="864" y="177"/>
                  </a:lnTo>
                  <a:lnTo>
                    <a:pt x="872" y="193"/>
                  </a:lnTo>
                  <a:lnTo>
                    <a:pt x="888" y="205"/>
                  </a:lnTo>
                  <a:lnTo>
                    <a:pt x="892" y="214"/>
                  </a:lnTo>
                  <a:lnTo>
                    <a:pt x="892" y="218"/>
                  </a:lnTo>
                  <a:lnTo>
                    <a:pt x="896" y="226"/>
                  </a:lnTo>
                  <a:lnTo>
                    <a:pt x="904" y="230"/>
                  </a:lnTo>
                  <a:lnTo>
                    <a:pt x="928" y="238"/>
                  </a:lnTo>
                  <a:lnTo>
                    <a:pt x="952" y="242"/>
                  </a:lnTo>
                  <a:lnTo>
                    <a:pt x="952" y="282"/>
                  </a:lnTo>
                  <a:lnTo>
                    <a:pt x="952" y="322"/>
                  </a:lnTo>
                  <a:lnTo>
                    <a:pt x="960" y="331"/>
                  </a:lnTo>
                  <a:lnTo>
                    <a:pt x="964" y="339"/>
                  </a:lnTo>
                  <a:lnTo>
                    <a:pt x="964" y="363"/>
                  </a:lnTo>
                  <a:lnTo>
                    <a:pt x="964" y="387"/>
                  </a:lnTo>
                  <a:lnTo>
                    <a:pt x="969" y="395"/>
                  </a:lnTo>
                  <a:lnTo>
                    <a:pt x="973" y="395"/>
                  </a:lnTo>
                  <a:lnTo>
                    <a:pt x="973" y="399"/>
                  </a:lnTo>
                  <a:lnTo>
                    <a:pt x="977" y="407"/>
                  </a:lnTo>
                  <a:lnTo>
                    <a:pt x="1021" y="435"/>
                  </a:lnTo>
                  <a:lnTo>
                    <a:pt x="1061" y="468"/>
                  </a:lnTo>
                  <a:lnTo>
                    <a:pt x="1065" y="496"/>
                  </a:lnTo>
                  <a:lnTo>
                    <a:pt x="1069" y="524"/>
                  </a:lnTo>
                  <a:lnTo>
                    <a:pt x="1081" y="536"/>
                  </a:lnTo>
                  <a:lnTo>
                    <a:pt x="1094" y="552"/>
                  </a:lnTo>
                  <a:lnTo>
                    <a:pt x="1094" y="561"/>
                  </a:lnTo>
                  <a:lnTo>
                    <a:pt x="1098" y="577"/>
                  </a:lnTo>
                  <a:lnTo>
                    <a:pt x="1110" y="581"/>
                  </a:lnTo>
                  <a:lnTo>
                    <a:pt x="1118" y="585"/>
                  </a:lnTo>
                  <a:lnTo>
                    <a:pt x="1118" y="593"/>
                  </a:lnTo>
                  <a:lnTo>
                    <a:pt x="1118" y="601"/>
                  </a:lnTo>
                  <a:lnTo>
                    <a:pt x="1114" y="601"/>
                  </a:lnTo>
                  <a:lnTo>
                    <a:pt x="1114" y="605"/>
                  </a:lnTo>
                  <a:lnTo>
                    <a:pt x="1110" y="641"/>
                  </a:lnTo>
                  <a:lnTo>
                    <a:pt x="1102" y="661"/>
                  </a:lnTo>
                  <a:lnTo>
                    <a:pt x="1098" y="669"/>
                  </a:lnTo>
                  <a:lnTo>
                    <a:pt x="1094" y="702"/>
                  </a:lnTo>
                  <a:lnTo>
                    <a:pt x="1090" y="706"/>
                  </a:lnTo>
                  <a:lnTo>
                    <a:pt x="1086" y="710"/>
                  </a:lnTo>
                  <a:lnTo>
                    <a:pt x="1081" y="710"/>
                  </a:lnTo>
                  <a:lnTo>
                    <a:pt x="1077" y="710"/>
                  </a:lnTo>
                  <a:lnTo>
                    <a:pt x="1069" y="706"/>
                  </a:lnTo>
                  <a:lnTo>
                    <a:pt x="1057" y="706"/>
                  </a:lnTo>
                  <a:lnTo>
                    <a:pt x="1041" y="706"/>
                  </a:lnTo>
                  <a:lnTo>
                    <a:pt x="1033" y="698"/>
                  </a:lnTo>
                  <a:lnTo>
                    <a:pt x="1025" y="690"/>
                  </a:lnTo>
                  <a:lnTo>
                    <a:pt x="989" y="682"/>
                  </a:lnTo>
                  <a:lnTo>
                    <a:pt x="977" y="678"/>
                  </a:lnTo>
                  <a:lnTo>
                    <a:pt x="960" y="673"/>
                  </a:lnTo>
                  <a:lnTo>
                    <a:pt x="940" y="673"/>
                  </a:lnTo>
                  <a:lnTo>
                    <a:pt x="936" y="669"/>
                  </a:lnTo>
                  <a:lnTo>
                    <a:pt x="928" y="669"/>
                  </a:lnTo>
                  <a:lnTo>
                    <a:pt x="916" y="669"/>
                  </a:lnTo>
                  <a:lnTo>
                    <a:pt x="900" y="669"/>
                  </a:lnTo>
                  <a:lnTo>
                    <a:pt x="892" y="673"/>
                  </a:lnTo>
                  <a:lnTo>
                    <a:pt x="876" y="678"/>
                  </a:lnTo>
                  <a:lnTo>
                    <a:pt x="876" y="682"/>
                  </a:lnTo>
                  <a:lnTo>
                    <a:pt x="872" y="690"/>
                  </a:lnTo>
                  <a:lnTo>
                    <a:pt x="864" y="710"/>
                  </a:lnTo>
                  <a:lnTo>
                    <a:pt x="856" y="738"/>
                  </a:lnTo>
                  <a:lnTo>
                    <a:pt x="835" y="750"/>
                  </a:lnTo>
                  <a:lnTo>
                    <a:pt x="819" y="762"/>
                  </a:lnTo>
                  <a:lnTo>
                    <a:pt x="795" y="766"/>
                  </a:lnTo>
                  <a:lnTo>
                    <a:pt x="783" y="774"/>
                  </a:lnTo>
                  <a:lnTo>
                    <a:pt x="771" y="774"/>
                  </a:lnTo>
                  <a:lnTo>
                    <a:pt x="755" y="774"/>
                  </a:lnTo>
                  <a:lnTo>
                    <a:pt x="743" y="766"/>
                  </a:lnTo>
                  <a:lnTo>
                    <a:pt x="722" y="762"/>
                  </a:lnTo>
                  <a:lnTo>
                    <a:pt x="714" y="762"/>
                  </a:lnTo>
                  <a:lnTo>
                    <a:pt x="698" y="762"/>
                  </a:lnTo>
                  <a:lnTo>
                    <a:pt x="694" y="766"/>
                  </a:lnTo>
                  <a:lnTo>
                    <a:pt x="682" y="774"/>
                  </a:lnTo>
                  <a:lnTo>
                    <a:pt x="662" y="774"/>
                  </a:lnTo>
                  <a:lnTo>
                    <a:pt x="638" y="77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34" name="Freeform 42"/>
            <p:cNvSpPr>
              <a:spLocks/>
            </p:cNvSpPr>
            <p:nvPr/>
          </p:nvSpPr>
          <p:spPr bwMode="auto">
            <a:xfrm>
              <a:off x="7340684" y="3554189"/>
              <a:ext cx="1114425" cy="726383"/>
            </a:xfrm>
            <a:custGeom>
              <a:avLst/>
              <a:gdLst>
                <a:gd name="T0" fmla="*/ 2147483647 w 1242"/>
                <a:gd name="T1" fmla="*/ 2147483647 h 815"/>
                <a:gd name="T2" fmla="*/ 2147483647 w 1242"/>
                <a:gd name="T3" fmla="*/ 2147483647 h 815"/>
                <a:gd name="T4" fmla="*/ 2147483647 w 1242"/>
                <a:gd name="T5" fmla="*/ 2147483647 h 815"/>
                <a:gd name="T6" fmla="*/ 2147483647 w 1242"/>
                <a:gd name="T7" fmla="*/ 2147483647 h 815"/>
                <a:gd name="T8" fmla="*/ 2147483647 w 1242"/>
                <a:gd name="T9" fmla="*/ 2147483647 h 815"/>
                <a:gd name="T10" fmla="*/ 2147483647 w 1242"/>
                <a:gd name="T11" fmla="*/ 2147483647 h 815"/>
                <a:gd name="T12" fmla="*/ 2147483647 w 1242"/>
                <a:gd name="T13" fmla="*/ 2147483647 h 815"/>
                <a:gd name="T14" fmla="*/ 2147483647 w 1242"/>
                <a:gd name="T15" fmla="*/ 2147483647 h 815"/>
                <a:gd name="T16" fmla="*/ 2147483647 w 1242"/>
                <a:gd name="T17" fmla="*/ 2147483647 h 815"/>
                <a:gd name="T18" fmla="*/ 2147483647 w 1242"/>
                <a:gd name="T19" fmla="*/ 2147483647 h 815"/>
                <a:gd name="T20" fmla="*/ 2147483647 w 1242"/>
                <a:gd name="T21" fmla="*/ 2147483647 h 815"/>
                <a:gd name="T22" fmla="*/ 2147483647 w 1242"/>
                <a:gd name="T23" fmla="*/ 2147483647 h 815"/>
                <a:gd name="T24" fmla="*/ 2147483647 w 1242"/>
                <a:gd name="T25" fmla="*/ 2147483647 h 815"/>
                <a:gd name="T26" fmla="*/ 2147483647 w 1242"/>
                <a:gd name="T27" fmla="*/ 2147483647 h 815"/>
                <a:gd name="T28" fmla="*/ 2147483647 w 1242"/>
                <a:gd name="T29" fmla="*/ 2147483647 h 815"/>
                <a:gd name="T30" fmla="*/ 2147483647 w 1242"/>
                <a:gd name="T31" fmla="*/ 2147483647 h 815"/>
                <a:gd name="T32" fmla="*/ 2147483647 w 1242"/>
                <a:gd name="T33" fmla="*/ 2147483647 h 815"/>
                <a:gd name="T34" fmla="*/ 2147483647 w 1242"/>
                <a:gd name="T35" fmla="*/ 2147483647 h 815"/>
                <a:gd name="T36" fmla="*/ 2147483647 w 1242"/>
                <a:gd name="T37" fmla="*/ 2147483647 h 815"/>
                <a:gd name="T38" fmla="*/ 2147483647 w 1242"/>
                <a:gd name="T39" fmla="*/ 2147483647 h 815"/>
                <a:gd name="T40" fmla="*/ 2147483647 w 1242"/>
                <a:gd name="T41" fmla="*/ 2147483647 h 815"/>
                <a:gd name="T42" fmla="*/ 2147483647 w 1242"/>
                <a:gd name="T43" fmla="*/ 2147483647 h 815"/>
                <a:gd name="T44" fmla="*/ 2147483647 w 1242"/>
                <a:gd name="T45" fmla="*/ 2147483647 h 815"/>
                <a:gd name="T46" fmla="*/ 2147483647 w 1242"/>
                <a:gd name="T47" fmla="*/ 2147483647 h 815"/>
                <a:gd name="T48" fmla="*/ 2147483647 w 1242"/>
                <a:gd name="T49" fmla="*/ 2147483647 h 815"/>
                <a:gd name="T50" fmla="*/ 2147483647 w 1242"/>
                <a:gd name="T51" fmla="*/ 2147483647 h 815"/>
                <a:gd name="T52" fmla="*/ 2147483647 w 1242"/>
                <a:gd name="T53" fmla="*/ 2147483647 h 815"/>
                <a:gd name="T54" fmla="*/ 2147483647 w 1242"/>
                <a:gd name="T55" fmla="*/ 0 h 815"/>
                <a:gd name="T56" fmla="*/ 2147483647 w 1242"/>
                <a:gd name="T57" fmla="*/ 2147483647 h 815"/>
                <a:gd name="T58" fmla="*/ 2147483647 w 1242"/>
                <a:gd name="T59" fmla="*/ 2147483647 h 815"/>
                <a:gd name="T60" fmla="*/ 2147483647 w 1242"/>
                <a:gd name="T61" fmla="*/ 2147483647 h 815"/>
                <a:gd name="T62" fmla="*/ 2147483647 w 1242"/>
                <a:gd name="T63" fmla="*/ 2147483647 h 815"/>
                <a:gd name="T64" fmla="*/ 2147483647 w 1242"/>
                <a:gd name="T65" fmla="*/ 2147483647 h 815"/>
                <a:gd name="T66" fmla="*/ 2147483647 w 1242"/>
                <a:gd name="T67" fmla="*/ 2147483647 h 815"/>
                <a:gd name="T68" fmla="*/ 2147483647 w 1242"/>
                <a:gd name="T69" fmla="*/ 2147483647 h 815"/>
                <a:gd name="T70" fmla="*/ 2147483647 w 1242"/>
                <a:gd name="T71" fmla="*/ 2147483647 h 815"/>
                <a:gd name="T72" fmla="*/ 2147483647 w 1242"/>
                <a:gd name="T73" fmla="*/ 2147483647 h 815"/>
                <a:gd name="T74" fmla="*/ 2147483647 w 1242"/>
                <a:gd name="T75" fmla="*/ 2147483647 h 815"/>
                <a:gd name="T76" fmla="*/ 2147483647 w 1242"/>
                <a:gd name="T77" fmla="*/ 2147483647 h 815"/>
                <a:gd name="T78" fmla="*/ 2147483647 w 1242"/>
                <a:gd name="T79" fmla="*/ 2147483647 h 815"/>
                <a:gd name="T80" fmla="*/ 2147483647 w 1242"/>
                <a:gd name="T81" fmla="*/ 2147483647 h 815"/>
                <a:gd name="T82" fmla="*/ 2147483647 w 1242"/>
                <a:gd name="T83" fmla="*/ 2147483647 h 815"/>
                <a:gd name="T84" fmla="*/ 2147483647 w 1242"/>
                <a:gd name="T85" fmla="*/ 2147483647 h 815"/>
                <a:gd name="T86" fmla="*/ 2147483647 w 1242"/>
                <a:gd name="T87" fmla="*/ 2147483647 h 815"/>
                <a:gd name="T88" fmla="*/ 2147483647 w 1242"/>
                <a:gd name="T89" fmla="*/ 2147483647 h 815"/>
                <a:gd name="T90" fmla="*/ 2147483647 w 1242"/>
                <a:gd name="T91" fmla="*/ 2147483647 h 815"/>
                <a:gd name="T92" fmla="*/ 2147483647 w 1242"/>
                <a:gd name="T93" fmla="*/ 2147483647 h 815"/>
                <a:gd name="T94" fmla="*/ 2147483647 w 1242"/>
                <a:gd name="T95" fmla="*/ 2147483647 h 815"/>
                <a:gd name="T96" fmla="*/ 2147483647 w 1242"/>
                <a:gd name="T97" fmla="*/ 2147483647 h 815"/>
                <a:gd name="T98" fmla="*/ 2147483647 w 1242"/>
                <a:gd name="T99" fmla="*/ 2147483647 h 815"/>
                <a:gd name="T100" fmla="*/ 2147483647 w 1242"/>
                <a:gd name="T101" fmla="*/ 2147483647 h 815"/>
                <a:gd name="T102" fmla="*/ 2147483647 w 1242"/>
                <a:gd name="T103" fmla="*/ 2147483647 h 815"/>
                <a:gd name="T104" fmla="*/ 2147483647 w 1242"/>
                <a:gd name="T105" fmla="*/ 2147483647 h 81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42"/>
                <a:gd name="T160" fmla="*/ 0 h 815"/>
                <a:gd name="T161" fmla="*/ 1242 w 1242"/>
                <a:gd name="T162" fmla="*/ 815 h 81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42" h="815">
                  <a:moveTo>
                    <a:pt x="339" y="815"/>
                  </a:moveTo>
                  <a:lnTo>
                    <a:pt x="322" y="807"/>
                  </a:lnTo>
                  <a:lnTo>
                    <a:pt x="318" y="799"/>
                  </a:lnTo>
                  <a:lnTo>
                    <a:pt x="290" y="791"/>
                  </a:lnTo>
                  <a:lnTo>
                    <a:pt x="286" y="783"/>
                  </a:lnTo>
                  <a:lnTo>
                    <a:pt x="266" y="771"/>
                  </a:lnTo>
                  <a:lnTo>
                    <a:pt x="242" y="763"/>
                  </a:lnTo>
                  <a:lnTo>
                    <a:pt x="230" y="759"/>
                  </a:lnTo>
                  <a:lnTo>
                    <a:pt x="226" y="751"/>
                  </a:lnTo>
                  <a:lnTo>
                    <a:pt x="222" y="743"/>
                  </a:lnTo>
                  <a:lnTo>
                    <a:pt x="218" y="735"/>
                  </a:lnTo>
                  <a:lnTo>
                    <a:pt x="209" y="735"/>
                  </a:lnTo>
                  <a:lnTo>
                    <a:pt x="197" y="735"/>
                  </a:lnTo>
                  <a:lnTo>
                    <a:pt x="189" y="735"/>
                  </a:lnTo>
                  <a:lnTo>
                    <a:pt x="173" y="735"/>
                  </a:lnTo>
                  <a:lnTo>
                    <a:pt x="165" y="735"/>
                  </a:lnTo>
                  <a:lnTo>
                    <a:pt x="157" y="735"/>
                  </a:lnTo>
                  <a:lnTo>
                    <a:pt x="125" y="706"/>
                  </a:lnTo>
                  <a:lnTo>
                    <a:pt x="109" y="698"/>
                  </a:lnTo>
                  <a:lnTo>
                    <a:pt x="96" y="698"/>
                  </a:lnTo>
                  <a:lnTo>
                    <a:pt x="80" y="706"/>
                  </a:lnTo>
                  <a:lnTo>
                    <a:pt x="72" y="718"/>
                  </a:lnTo>
                  <a:lnTo>
                    <a:pt x="56" y="735"/>
                  </a:lnTo>
                  <a:lnTo>
                    <a:pt x="48" y="735"/>
                  </a:lnTo>
                  <a:lnTo>
                    <a:pt x="44" y="743"/>
                  </a:lnTo>
                  <a:lnTo>
                    <a:pt x="32" y="743"/>
                  </a:lnTo>
                  <a:lnTo>
                    <a:pt x="24" y="743"/>
                  </a:lnTo>
                  <a:lnTo>
                    <a:pt x="20" y="743"/>
                  </a:lnTo>
                  <a:lnTo>
                    <a:pt x="12" y="735"/>
                  </a:lnTo>
                  <a:lnTo>
                    <a:pt x="8" y="735"/>
                  </a:lnTo>
                  <a:lnTo>
                    <a:pt x="0" y="731"/>
                  </a:lnTo>
                  <a:lnTo>
                    <a:pt x="0" y="722"/>
                  </a:lnTo>
                  <a:lnTo>
                    <a:pt x="0" y="714"/>
                  </a:lnTo>
                  <a:lnTo>
                    <a:pt x="12" y="698"/>
                  </a:lnTo>
                  <a:lnTo>
                    <a:pt x="20" y="674"/>
                  </a:lnTo>
                  <a:lnTo>
                    <a:pt x="24" y="670"/>
                  </a:lnTo>
                  <a:lnTo>
                    <a:pt x="28" y="666"/>
                  </a:lnTo>
                  <a:lnTo>
                    <a:pt x="28" y="597"/>
                  </a:lnTo>
                  <a:lnTo>
                    <a:pt x="28" y="537"/>
                  </a:lnTo>
                  <a:lnTo>
                    <a:pt x="28" y="513"/>
                  </a:lnTo>
                  <a:lnTo>
                    <a:pt x="24" y="488"/>
                  </a:lnTo>
                  <a:lnTo>
                    <a:pt x="24" y="464"/>
                  </a:lnTo>
                  <a:lnTo>
                    <a:pt x="24" y="444"/>
                  </a:lnTo>
                  <a:lnTo>
                    <a:pt x="32" y="428"/>
                  </a:lnTo>
                  <a:lnTo>
                    <a:pt x="44" y="420"/>
                  </a:lnTo>
                  <a:lnTo>
                    <a:pt x="52" y="400"/>
                  </a:lnTo>
                  <a:lnTo>
                    <a:pt x="60" y="380"/>
                  </a:lnTo>
                  <a:lnTo>
                    <a:pt x="60" y="367"/>
                  </a:lnTo>
                  <a:lnTo>
                    <a:pt x="60" y="355"/>
                  </a:lnTo>
                  <a:lnTo>
                    <a:pt x="56" y="347"/>
                  </a:lnTo>
                  <a:lnTo>
                    <a:pt x="52" y="327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6" y="287"/>
                  </a:lnTo>
                  <a:lnTo>
                    <a:pt x="56" y="234"/>
                  </a:lnTo>
                  <a:lnTo>
                    <a:pt x="60" y="186"/>
                  </a:lnTo>
                  <a:lnTo>
                    <a:pt x="56" y="182"/>
                  </a:lnTo>
                  <a:lnTo>
                    <a:pt x="52" y="174"/>
                  </a:lnTo>
                  <a:lnTo>
                    <a:pt x="52" y="162"/>
                  </a:lnTo>
                  <a:lnTo>
                    <a:pt x="48" y="146"/>
                  </a:lnTo>
                  <a:lnTo>
                    <a:pt x="48" y="121"/>
                  </a:lnTo>
                  <a:lnTo>
                    <a:pt x="48" y="97"/>
                  </a:lnTo>
                  <a:lnTo>
                    <a:pt x="56" y="81"/>
                  </a:lnTo>
                  <a:lnTo>
                    <a:pt x="64" y="49"/>
                  </a:lnTo>
                  <a:lnTo>
                    <a:pt x="88" y="37"/>
                  </a:lnTo>
                  <a:lnTo>
                    <a:pt x="109" y="24"/>
                  </a:lnTo>
                  <a:lnTo>
                    <a:pt x="117" y="24"/>
                  </a:lnTo>
                  <a:lnTo>
                    <a:pt x="125" y="24"/>
                  </a:lnTo>
                  <a:lnTo>
                    <a:pt x="133" y="29"/>
                  </a:lnTo>
                  <a:lnTo>
                    <a:pt x="137" y="33"/>
                  </a:lnTo>
                  <a:lnTo>
                    <a:pt x="141" y="41"/>
                  </a:lnTo>
                  <a:lnTo>
                    <a:pt x="145" y="45"/>
                  </a:lnTo>
                  <a:lnTo>
                    <a:pt x="153" y="61"/>
                  </a:lnTo>
                  <a:lnTo>
                    <a:pt x="153" y="73"/>
                  </a:lnTo>
                  <a:lnTo>
                    <a:pt x="157" y="81"/>
                  </a:lnTo>
                  <a:lnTo>
                    <a:pt x="165" y="97"/>
                  </a:lnTo>
                  <a:lnTo>
                    <a:pt x="185" y="101"/>
                  </a:lnTo>
                  <a:lnTo>
                    <a:pt x="197" y="101"/>
                  </a:lnTo>
                  <a:lnTo>
                    <a:pt x="218" y="121"/>
                  </a:lnTo>
                  <a:lnTo>
                    <a:pt x="238" y="137"/>
                  </a:lnTo>
                  <a:lnTo>
                    <a:pt x="242" y="137"/>
                  </a:lnTo>
                  <a:lnTo>
                    <a:pt x="246" y="137"/>
                  </a:lnTo>
                  <a:lnTo>
                    <a:pt x="254" y="125"/>
                  </a:lnTo>
                  <a:lnTo>
                    <a:pt x="270" y="121"/>
                  </a:lnTo>
                  <a:lnTo>
                    <a:pt x="278" y="113"/>
                  </a:lnTo>
                  <a:lnTo>
                    <a:pt x="286" y="101"/>
                  </a:lnTo>
                  <a:lnTo>
                    <a:pt x="290" y="101"/>
                  </a:lnTo>
                  <a:lnTo>
                    <a:pt x="302" y="101"/>
                  </a:lnTo>
                  <a:lnTo>
                    <a:pt x="322" y="65"/>
                  </a:lnTo>
                  <a:lnTo>
                    <a:pt x="335" y="53"/>
                  </a:lnTo>
                  <a:lnTo>
                    <a:pt x="339" y="45"/>
                  </a:lnTo>
                  <a:lnTo>
                    <a:pt x="343" y="37"/>
                  </a:lnTo>
                  <a:lnTo>
                    <a:pt x="347" y="33"/>
                  </a:lnTo>
                  <a:lnTo>
                    <a:pt x="355" y="29"/>
                  </a:lnTo>
                  <a:lnTo>
                    <a:pt x="363" y="29"/>
                  </a:lnTo>
                  <a:lnTo>
                    <a:pt x="379" y="29"/>
                  </a:lnTo>
                  <a:lnTo>
                    <a:pt x="391" y="37"/>
                  </a:lnTo>
                  <a:lnTo>
                    <a:pt x="407" y="41"/>
                  </a:lnTo>
                  <a:lnTo>
                    <a:pt x="423" y="41"/>
                  </a:lnTo>
                  <a:lnTo>
                    <a:pt x="435" y="41"/>
                  </a:lnTo>
                  <a:lnTo>
                    <a:pt x="451" y="49"/>
                  </a:lnTo>
                  <a:lnTo>
                    <a:pt x="468" y="65"/>
                  </a:lnTo>
                  <a:lnTo>
                    <a:pt x="496" y="65"/>
                  </a:lnTo>
                  <a:lnTo>
                    <a:pt x="516" y="65"/>
                  </a:lnTo>
                  <a:lnTo>
                    <a:pt x="524" y="77"/>
                  </a:lnTo>
                  <a:lnTo>
                    <a:pt x="532" y="89"/>
                  </a:lnTo>
                  <a:lnTo>
                    <a:pt x="532" y="101"/>
                  </a:lnTo>
                  <a:lnTo>
                    <a:pt x="536" y="117"/>
                  </a:lnTo>
                  <a:lnTo>
                    <a:pt x="552" y="129"/>
                  </a:lnTo>
                  <a:lnTo>
                    <a:pt x="568" y="150"/>
                  </a:lnTo>
                  <a:lnTo>
                    <a:pt x="605" y="150"/>
                  </a:lnTo>
                  <a:lnTo>
                    <a:pt x="637" y="150"/>
                  </a:lnTo>
                  <a:lnTo>
                    <a:pt x="641" y="150"/>
                  </a:lnTo>
                  <a:lnTo>
                    <a:pt x="645" y="146"/>
                  </a:lnTo>
                  <a:lnTo>
                    <a:pt x="657" y="137"/>
                  </a:lnTo>
                  <a:lnTo>
                    <a:pt x="665" y="125"/>
                  </a:lnTo>
                  <a:lnTo>
                    <a:pt x="665" y="113"/>
                  </a:lnTo>
                  <a:lnTo>
                    <a:pt x="669" y="101"/>
                  </a:lnTo>
                  <a:lnTo>
                    <a:pt x="681" y="89"/>
                  </a:lnTo>
                  <a:lnTo>
                    <a:pt x="694" y="77"/>
                  </a:lnTo>
                  <a:lnTo>
                    <a:pt x="702" y="77"/>
                  </a:lnTo>
                  <a:lnTo>
                    <a:pt x="706" y="77"/>
                  </a:lnTo>
                  <a:lnTo>
                    <a:pt x="718" y="85"/>
                  </a:lnTo>
                  <a:lnTo>
                    <a:pt x="722" y="89"/>
                  </a:lnTo>
                  <a:lnTo>
                    <a:pt x="730" y="97"/>
                  </a:lnTo>
                  <a:lnTo>
                    <a:pt x="738" y="97"/>
                  </a:lnTo>
                  <a:lnTo>
                    <a:pt x="742" y="101"/>
                  </a:lnTo>
                  <a:lnTo>
                    <a:pt x="754" y="109"/>
                  </a:lnTo>
                  <a:lnTo>
                    <a:pt x="762" y="109"/>
                  </a:lnTo>
                  <a:lnTo>
                    <a:pt x="774" y="101"/>
                  </a:lnTo>
                  <a:lnTo>
                    <a:pt x="778" y="89"/>
                  </a:lnTo>
                  <a:lnTo>
                    <a:pt x="782" y="77"/>
                  </a:lnTo>
                  <a:lnTo>
                    <a:pt x="790" y="73"/>
                  </a:lnTo>
                  <a:lnTo>
                    <a:pt x="794" y="65"/>
                  </a:lnTo>
                  <a:lnTo>
                    <a:pt x="835" y="65"/>
                  </a:lnTo>
                  <a:lnTo>
                    <a:pt x="875" y="61"/>
                  </a:lnTo>
                  <a:lnTo>
                    <a:pt x="887" y="49"/>
                  </a:lnTo>
                  <a:lnTo>
                    <a:pt x="895" y="37"/>
                  </a:lnTo>
                  <a:lnTo>
                    <a:pt x="911" y="29"/>
                  </a:lnTo>
                  <a:lnTo>
                    <a:pt x="940" y="0"/>
                  </a:lnTo>
                  <a:lnTo>
                    <a:pt x="956" y="0"/>
                  </a:lnTo>
                  <a:lnTo>
                    <a:pt x="968" y="0"/>
                  </a:lnTo>
                  <a:lnTo>
                    <a:pt x="968" y="4"/>
                  </a:lnTo>
                  <a:lnTo>
                    <a:pt x="976" y="4"/>
                  </a:lnTo>
                  <a:lnTo>
                    <a:pt x="980" y="8"/>
                  </a:lnTo>
                  <a:lnTo>
                    <a:pt x="988" y="8"/>
                  </a:lnTo>
                  <a:lnTo>
                    <a:pt x="992" y="16"/>
                  </a:lnTo>
                  <a:lnTo>
                    <a:pt x="1000" y="33"/>
                  </a:lnTo>
                  <a:lnTo>
                    <a:pt x="1000" y="49"/>
                  </a:lnTo>
                  <a:lnTo>
                    <a:pt x="1000" y="65"/>
                  </a:lnTo>
                  <a:lnTo>
                    <a:pt x="1012" y="81"/>
                  </a:lnTo>
                  <a:lnTo>
                    <a:pt x="1053" y="101"/>
                  </a:lnTo>
                  <a:lnTo>
                    <a:pt x="1057" y="109"/>
                  </a:lnTo>
                  <a:lnTo>
                    <a:pt x="1065" y="109"/>
                  </a:lnTo>
                  <a:lnTo>
                    <a:pt x="1073" y="109"/>
                  </a:lnTo>
                  <a:lnTo>
                    <a:pt x="1081" y="101"/>
                  </a:lnTo>
                  <a:lnTo>
                    <a:pt x="1093" y="97"/>
                  </a:lnTo>
                  <a:lnTo>
                    <a:pt x="1097" y="97"/>
                  </a:lnTo>
                  <a:lnTo>
                    <a:pt x="1109" y="97"/>
                  </a:lnTo>
                  <a:lnTo>
                    <a:pt x="1129" y="101"/>
                  </a:lnTo>
                  <a:lnTo>
                    <a:pt x="1149" y="109"/>
                  </a:lnTo>
                  <a:lnTo>
                    <a:pt x="1157" y="117"/>
                  </a:lnTo>
                  <a:lnTo>
                    <a:pt x="1162" y="129"/>
                  </a:lnTo>
                  <a:lnTo>
                    <a:pt x="1170" y="154"/>
                  </a:lnTo>
                  <a:lnTo>
                    <a:pt x="1174" y="174"/>
                  </a:lnTo>
                  <a:lnTo>
                    <a:pt x="1178" y="182"/>
                  </a:lnTo>
                  <a:lnTo>
                    <a:pt x="1182" y="190"/>
                  </a:lnTo>
                  <a:lnTo>
                    <a:pt x="1194" y="194"/>
                  </a:lnTo>
                  <a:lnTo>
                    <a:pt x="1206" y="202"/>
                  </a:lnTo>
                  <a:lnTo>
                    <a:pt x="1226" y="206"/>
                  </a:lnTo>
                  <a:lnTo>
                    <a:pt x="1242" y="206"/>
                  </a:lnTo>
                  <a:lnTo>
                    <a:pt x="1242" y="214"/>
                  </a:lnTo>
                  <a:lnTo>
                    <a:pt x="1238" y="226"/>
                  </a:lnTo>
                  <a:lnTo>
                    <a:pt x="1230" y="230"/>
                  </a:lnTo>
                  <a:lnTo>
                    <a:pt x="1214" y="234"/>
                  </a:lnTo>
                  <a:lnTo>
                    <a:pt x="1202" y="246"/>
                  </a:lnTo>
                  <a:lnTo>
                    <a:pt x="1186" y="258"/>
                  </a:lnTo>
                  <a:lnTo>
                    <a:pt x="1186" y="263"/>
                  </a:lnTo>
                  <a:lnTo>
                    <a:pt x="1182" y="267"/>
                  </a:lnTo>
                  <a:lnTo>
                    <a:pt x="1174" y="279"/>
                  </a:lnTo>
                  <a:lnTo>
                    <a:pt x="1162" y="283"/>
                  </a:lnTo>
                  <a:lnTo>
                    <a:pt x="1141" y="315"/>
                  </a:lnTo>
                  <a:lnTo>
                    <a:pt x="1117" y="339"/>
                  </a:lnTo>
                  <a:lnTo>
                    <a:pt x="1117" y="347"/>
                  </a:lnTo>
                  <a:lnTo>
                    <a:pt x="1117" y="355"/>
                  </a:lnTo>
                  <a:lnTo>
                    <a:pt x="1117" y="363"/>
                  </a:lnTo>
                  <a:lnTo>
                    <a:pt x="1113" y="367"/>
                  </a:lnTo>
                  <a:lnTo>
                    <a:pt x="1113" y="380"/>
                  </a:lnTo>
                  <a:lnTo>
                    <a:pt x="1113" y="400"/>
                  </a:lnTo>
                  <a:lnTo>
                    <a:pt x="1109" y="400"/>
                  </a:lnTo>
                  <a:lnTo>
                    <a:pt x="1105" y="404"/>
                  </a:lnTo>
                  <a:lnTo>
                    <a:pt x="1077" y="404"/>
                  </a:lnTo>
                  <a:lnTo>
                    <a:pt x="1061" y="408"/>
                  </a:lnTo>
                  <a:lnTo>
                    <a:pt x="1040" y="416"/>
                  </a:lnTo>
                  <a:lnTo>
                    <a:pt x="1016" y="428"/>
                  </a:lnTo>
                  <a:lnTo>
                    <a:pt x="1004" y="444"/>
                  </a:lnTo>
                  <a:lnTo>
                    <a:pt x="988" y="460"/>
                  </a:lnTo>
                  <a:lnTo>
                    <a:pt x="984" y="476"/>
                  </a:lnTo>
                  <a:lnTo>
                    <a:pt x="984" y="488"/>
                  </a:lnTo>
                  <a:lnTo>
                    <a:pt x="988" y="505"/>
                  </a:lnTo>
                  <a:lnTo>
                    <a:pt x="1000" y="525"/>
                  </a:lnTo>
                  <a:lnTo>
                    <a:pt x="1000" y="537"/>
                  </a:lnTo>
                  <a:lnTo>
                    <a:pt x="1000" y="549"/>
                  </a:lnTo>
                  <a:lnTo>
                    <a:pt x="1004" y="553"/>
                  </a:lnTo>
                  <a:lnTo>
                    <a:pt x="1008" y="557"/>
                  </a:lnTo>
                  <a:lnTo>
                    <a:pt x="1008" y="561"/>
                  </a:lnTo>
                  <a:lnTo>
                    <a:pt x="1008" y="573"/>
                  </a:lnTo>
                  <a:lnTo>
                    <a:pt x="1004" y="577"/>
                  </a:lnTo>
                  <a:lnTo>
                    <a:pt x="1000" y="581"/>
                  </a:lnTo>
                  <a:lnTo>
                    <a:pt x="984" y="581"/>
                  </a:lnTo>
                  <a:lnTo>
                    <a:pt x="968" y="585"/>
                  </a:lnTo>
                  <a:lnTo>
                    <a:pt x="952" y="581"/>
                  </a:lnTo>
                  <a:lnTo>
                    <a:pt x="932" y="581"/>
                  </a:lnTo>
                  <a:lnTo>
                    <a:pt x="923" y="577"/>
                  </a:lnTo>
                  <a:lnTo>
                    <a:pt x="911" y="573"/>
                  </a:lnTo>
                  <a:lnTo>
                    <a:pt x="899" y="573"/>
                  </a:lnTo>
                  <a:lnTo>
                    <a:pt x="887" y="573"/>
                  </a:lnTo>
                  <a:lnTo>
                    <a:pt x="883" y="581"/>
                  </a:lnTo>
                  <a:lnTo>
                    <a:pt x="871" y="585"/>
                  </a:lnTo>
                  <a:lnTo>
                    <a:pt x="859" y="581"/>
                  </a:lnTo>
                  <a:lnTo>
                    <a:pt x="811" y="565"/>
                  </a:lnTo>
                  <a:lnTo>
                    <a:pt x="774" y="565"/>
                  </a:lnTo>
                  <a:lnTo>
                    <a:pt x="746" y="573"/>
                  </a:lnTo>
                  <a:lnTo>
                    <a:pt x="742" y="577"/>
                  </a:lnTo>
                  <a:lnTo>
                    <a:pt x="738" y="581"/>
                  </a:lnTo>
                  <a:lnTo>
                    <a:pt x="726" y="589"/>
                  </a:lnTo>
                  <a:lnTo>
                    <a:pt x="706" y="597"/>
                  </a:lnTo>
                  <a:lnTo>
                    <a:pt x="702" y="601"/>
                  </a:lnTo>
                  <a:lnTo>
                    <a:pt x="698" y="609"/>
                  </a:lnTo>
                  <a:lnTo>
                    <a:pt x="702" y="638"/>
                  </a:lnTo>
                  <a:lnTo>
                    <a:pt x="702" y="666"/>
                  </a:lnTo>
                  <a:lnTo>
                    <a:pt x="698" y="674"/>
                  </a:lnTo>
                  <a:lnTo>
                    <a:pt x="690" y="682"/>
                  </a:lnTo>
                  <a:lnTo>
                    <a:pt x="677" y="686"/>
                  </a:lnTo>
                  <a:lnTo>
                    <a:pt x="665" y="686"/>
                  </a:lnTo>
                  <a:lnTo>
                    <a:pt x="661" y="682"/>
                  </a:lnTo>
                  <a:lnTo>
                    <a:pt x="657" y="682"/>
                  </a:lnTo>
                  <a:lnTo>
                    <a:pt x="641" y="682"/>
                  </a:lnTo>
                  <a:lnTo>
                    <a:pt x="625" y="682"/>
                  </a:lnTo>
                  <a:lnTo>
                    <a:pt x="621" y="682"/>
                  </a:lnTo>
                  <a:lnTo>
                    <a:pt x="617" y="686"/>
                  </a:lnTo>
                  <a:lnTo>
                    <a:pt x="613" y="698"/>
                  </a:lnTo>
                  <a:lnTo>
                    <a:pt x="597" y="698"/>
                  </a:lnTo>
                  <a:lnTo>
                    <a:pt x="589" y="706"/>
                  </a:lnTo>
                  <a:lnTo>
                    <a:pt x="577" y="706"/>
                  </a:lnTo>
                  <a:lnTo>
                    <a:pt x="560" y="706"/>
                  </a:lnTo>
                  <a:lnTo>
                    <a:pt x="552" y="698"/>
                  </a:lnTo>
                  <a:lnTo>
                    <a:pt x="540" y="682"/>
                  </a:lnTo>
                  <a:lnTo>
                    <a:pt x="516" y="682"/>
                  </a:lnTo>
                  <a:lnTo>
                    <a:pt x="488" y="682"/>
                  </a:lnTo>
                  <a:lnTo>
                    <a:pt x="484" y="686"/>
                  </a:lnTo>
                  <a:lnTo>
                    <a:pt x="476" y="686"/>
                  </a:lnTo>
                  <a:lnTo>
                    <a:pt x="476" y="698"/>
                  </a:lnTo>
                  <a:lnTo>
                    <a:pt x="468" y="714"/>
                  </a:lnTo>
                  <a:lnTo>
                    <a:pt x="451" y="718"/>
                  </a:lnTo>
                  <a:lnTo>
                    <a:pt x="435" y="722"/>
                  </a:lnTo>
                  <a:lnTo>
                    <a:pt x="415" y="718"/>
                  </a:lnTo>
                  <a:lnTo>
                    <a:pt x="407" y="718"/>
                  </a:lnTo>
                  <a:lnTo>
                    <a:pt x="387" y="731"/>
                  </a:lnTo>
                  <a:lnTo>
                    <a:pt x="379" y="735"/>
                  </a:lnTo>
                  <a:lnTo>
                    <a:pt x="379" y="771"/>
                  </a:lnTo>
                  <a:lnTo>
                    <a:pt x="371" y="807"/>
                  </a:lnTo>
                  <a:lnTo>
                    <a:pt x="371" y="811"/>
                  </a:lnTo>
                  <a:lnTo>
                    <a:pt x="367" y="815"/>
                  </a:lnTo>
                  <a:lnTo>
                    <a:pt x="355" y="815"/>
                  </a:lnTo>
                  <a:lnTo>
                    <a:pt x="339" y="8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35" name="Freeform 43"/>
            <p:cNvSpPr>
              <a:spLocks/>
            </p:cNvSpPr>
            <p:nvPr/>
          </p:nvSpPr>
          <p:spPr bwMode="auto">
            <a:xfrm>
              <a:off x="785896" y="3414750"/>
              <a:ext cx="1122363" cy="608022"/>
            </a:xfrm>
            <a:custGeom>
              <a:avLst/>
              <a:gdLst>
                <a:gd name="T0" fmla="*/ 35472956 w 1250"/>
                <a:gd name="T1" fmla="*/ 494500887 h 682"/>
                <a:gd name="T2" fmla="*/ 51597266 w 1250"/>
                <a:gd name="T3" fmla="*/ 445735757 h 682"/>
                <a:gd name="T4" fmla="*/ 48372045 w 1250"/>
                <a:gd name="T5" fmla="*/ 368779796 h 682"/>
                <a:gd name="T6" fmla="*/ 9674769 w 1250"/>
                <a:gd name="T7" fmla="*/ 344398158 h 682"/>
                <a:gd name="T8" fmla="*/ 0 w 1250"/>
                <a:gd name="T9" fmla="*/ 326111057 h 682"/>
                <a:gd name="T10" fmla="*/ 78201762 w 1250"/>
                <a:gd name="T11" fmla="*/ 304014653 h 682"/>
                <a:gd name="T12" fmla="*/ 113675602 w 1250"/>
                <a:gd name="T13" fmla="*/ 307062794 h 682"/>
                <a:gd name="T14" fmla="*/ 136248586 w 1250"/>
                <a:gd name="T15" fmla="*/ 320015648 h 682"/>
                <a:gd name="T16" fmla="*/ 166078289 w 1250"/>
                <a:gd name="T17" fmla="*/ 310110062 h 682"/>
                <a:gd name="T18" fmla="*/ 185427820 w 1250"/>
                <a:gd name="T19" fmla="*/ 276584874 h 682"/>
                <a:gd name="T20" fmla="*/ 276528698 w 1250"/>
                <a:gd name="T21" fmla="*/ 214867818 h 682"/>
                <a:gd name="T22" fmla="*/ 286203463 w 1250"/>
                <a:gd name="T23" fmla="*/ 184389898 h 682"/>
                <a:gd name="T24" fmla="*/ 299102552 w 1250"/>
                <a:gd name="T25" fmla="*/ 125720164 h 682"/>
                <a:gd name="T26" fmla="*/ 324901627 w 1250"/>
                <a:gd name="T27" fmla="*/ 89146808 h 682"/>
                <a:gd name="T28" fmla="*/ 341831343 w 1250"/>
                <a:gd name="T29" fmla="*/ 39620611 h 682"/>
                <a:gd name="T30" fmla="*/ 370855639 w 1250"/>
                <a:gd name="T31" fmla="*/ 24382517 h 682"/>
                <a:gd name="T32" fmla="*/ 406328581 w 1250"/>
                <a:gd name="T33" fmla="*/ 30477933 h 682"/>
                <a:gd name="T34" fmla="*/ 425677214 w 1250"/>
                <a:gd name="T35" fmla="*/ 15238967 h 682"/>
                <a:gd name="T36" fmla="*/ 474855662 w 1250"/>
                <a:gd name="T37" fmla="*/ 0 h 682"/>
                <a:gd name="T38" fmla="*/ 533708763 w 1250"/>
                <a:gd name="T39" fmla="*/ 15238967 h 682"/>
                <a:gd name="T40" fmla="*/ 611105090 w 1250"/>
                <a:gd name="T41" fmla="*/ 36573343 h 682"/>
                <a:gd name="T42" fmla="*/ 644159116 w 1250"/>
                <a:gd name="T43" fmla="*/ 0 h 682"/>
                <a:gd name="T44" fmla="*/ 705431133 w 1250"/>
                <a:gd name="T45" fmla="*/ 9143554 h 682"/>
                <a:gd name="T46" fmla="*/ 796532853 w 1250"/>
                <a:gd name="T47" fmla="*/ 18286235 h 682"/>
                <a:gd name="T48" fmla="*/ 836036424 w 1250"/>
                <a:gd name="T49" fmla="*/ 12190822 h 682"/>
                <a:gd name="T50" fmla="*/ 914239056 w 1250"/>
                <a:gd name="T51" fmla="*/ 12190822 h 682"/>
                <a:gd name="T52" fmla="*/ 949712222 w 1250"/>
                <a:gd name="T53" fmla="*/ 18286235 h 682"/>
                <a:gd name="T54" fmla="*/ 949712222 w 1250"/>
                <a:gd name="T55" fmla="*/ 45716893 h 682"/>
                <a:gd name="T56" fmla="*/ 920688600 w 1250"/>
                <a:gd name="T57" fmla="*/ 52574338 h 682"/>
                <a:gd name="T58" fmla="*/ 927138144 w 1250"/>
                <a:gd name="T59" fmla="*/ 83051398 h 682"/>
                <a:gd name="T60" fmla="*/ 1007759018 w 1250"/>
                <a:gd name="T61" fmla="*/ 137911856 h 682"/>
                <a:gd name="T62" fmla="*/ 988410386 w 1250"/>
                <a:gd name="T63" fmla="*/ 150864710 h 682"/>
                <a:gd name="T64" fmla="*/ 868285043 w 1250"/>
                <a:gd name="T65" fmla="*/ 150864710 h 682"/>
                <a:gd name="T66" fmla="*/ 861835499 w 1250"/>
                <a:gd name="T67" fmla="*/ 190485307 h 682"/>
                <a:gd name="T68" fmla="*/ 852160734 w 1250"/>
                <a:gd name="T69" fmla="*/ 224011368 h 682"/>
                <a:gd name="T70" fmla="*/ 858610278 w 1250"/>
                <a:gd name="T71" fmla="*/ 243059686 h 682"/>
                <a:gd name="T72" fmla="*/ 842486866 w 1250"/>
                <a:gd name="T73" fmla="*/ 252203237 h 682"/>
                <a:gd name="T74" fmla="*/ 839261645 w 1250"/>
                <a:gd name="T75" fmla="*/ 267441323 h 682"/>
                <a:gd name="T76" fmla="*/ 845711189 w 1250"/>
                <a:gd name="T77" fmla="*/ 285728425 h 682"/>
                <a:gd name="T78" fmla="*/ 786858088 w 1250"/>
                <a:gd name="T79" fmla="*/ 323063789 h 682"/>
                <a:gd name="T80" fmla="*/ 721555443 w 1250"/>
                <a:gd name="T81" fmla="*/ 344398158 h 682"/>
                <a:gd name="T82" fmla="*/ 611105090 w 1250"/>
                <a:gd name="T83" fmla="*/ 353540836 h 682"/>
                <a:gd name="T84" fmla="*/ 569182603 w 1250"/>
                <a:gd name="T85" fmla="*/ 374875205 h 682"/>
                <a:gd name="T86" fmla="*/ 536933984 w 1250"/>
                <a:gd name="T87" fmla="*/ 371827937 h 682"/>
                <a:gd name="T88" fmla="*/ 500654737 w 1250"/>
                <a:gd name="T89" fmla="*/ 384018756 h 682"/>
                <a:gd name="T90" fmla="*/ 465181683 w 1250"/>
                <a:gd name="T91" fmla="*/ 371827937 h 682"/>
                <a:gd name="T92" fmla="*/ 435351979 w 1250"/>
                <a:gd name="T93" fmla="*/ 377923346 h 682"/>
                <a:gd name="T94" fmla="*/ 419227670 w 1250"/>
                <a:gd name="T95" fmla="*/ 396209574 h 682"/>
                <a:gd name="T96" fmla="*/ 396653816 w 1250"/>
                <a:gd name="T97" fmla="*/ 387066897 h 682"/>
                <a:gd name="T98" fmla="*/ 279753919 w 1250"/>
                <a:gd name="T99" fmla="*/ 365732527 h 682"/>
                <a:gd name="T100" fmla="*/ 260405286 w 1250"/>
                <a:gd name="T101" fmla="*/ 368779796 h 682"/>
                <a:gd name="T102" fmla="*/ 257180065 w 1250"/>
                <a:gd name="T103" fmla="*/ 412210569 h 682"/>
                <a:gd name="T104" fmla="*/ 250730521 w 1250"/>
                <a:gd name="T105" fmla="*/ 442688489 h 682"/>
                <a:gd name="T106" fmla="*/ 224125983 w 1250"/>
                <a:gd name="T107" fmla="*/ 427449529 h 682"/>
                <a:gd name="T108" fmla="*/ 195101687 w 1250"/>
                <a:gd name="T109" fmla="*/ 380970614 h 682"/>
                <a:gd name="T110" fmla="*/ 172528731 w 1250"/>
                <a:gd name="T111" fmla="*/ 380970614 h 682"/>
                <a:gd name="T112" fmla="*/ 156404422 w 1250"/>
                <a:gd name="T113" fmla="*/ 418305979 h 682"/>
                <a:gd name="T114" fmla="*/ 149148572 w 1250"/>
                <a:gd name="T115" fmla="*/ 442688489 h 682"/>
                <a:gd name="T116" fmla="*/ 149148572 w 1250"/>
                <a:gd name="T117" fmla="*/ 454879308 h 682"/>
                <a:gd name="T118" fmla="*/ 126574718 w 1250"/>
                <a:gd name="T119" fmla="*/ 485357337 h 682"/>
                <a:gd name="T120" fmla="*/ 41922500 w 1250"/>
                <a:gd name="T121" fmla="*/ 519644560 h 68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50"/>
                <a:gd name="T184" fmla="*/ 0 h 682"/>
                <a:gd name="T185" fmla="*/ 1250 w 1250"/>
                <a:gd name="T186" fmla="*/ 682 h 68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50" h="682">
                  <a:moveTo>
                    <a:pt x="36" y="674"/>
                  </a:moveTo>
                  <a:lnTo>
                    <a:pt x="36" y="670"/>
                  </a:lnTo>
                  <a:lnTo>
                    <a:pt x="36" y="649"/>
                  </a:lnTo>
                  <a:lnTo>
                    <a:pt x="44" y="649"/>
                  </a:lnTo>
                  <a:lnTo>
                    <a:pt x="52" y="645"/>
                  </a:lnTo>
                  <a:lnTo>
                    <a:pt x="60" y="633"/>
                  </a:lnTo>
                  <a:lnTo>
                    <a:pt x="64" y="617"/>
                  </a:lnTo>
                  <a:lnTo>
                    <a:pt x="64" y="585"/>
                  </a:lnTo>
                  <a:lnTo>
                    <a:pt x="64" y="549"/>
                  </a:lnTo>
                  <a:lnTo>
                    <a:pt x="60" y="520"/>
                  </a:lnTo>
                  <a:lnTo>
                    <a:pt x="60" y="508"/>
                  </a:lnTo>
                  <a:lnTo>
                    <a:pt x="60" y="484"/>
                  </a:lnTo>
                  <a:lnTo>
                    <a:pt x="60" y="452"/>
                  </a:lnTo>
                  <a:lnTo>
                    <a:pt x="52" y="448"/>
                  </a:lnTo>
                  <a:lnTo>
                    <a:pt x="16" y="452"/>
                  </a:lnTo>
                  <a:lnTo>
                    <a:pt x="12" y="452"/>
                  </a:lnTo>
                  <a:lnTo>
                    <a:pt x="8" y="452"/>
                  </a:lnTo>
                  <a:lnTo>
                    <a:pt x="0" y="448"/>
                  </a:lnTo>
                  <a:lnTo>
                    <a:pt x="0" y="440"/>
                  </a:lnTo>
                  <a:lnTo>
                    <a:pt x="0" y="428"/>
                  </a:lnTo>
                  <a:lnTo>
                    <a:pt x="20" y="415"/>
                  </a:lnTo>
                  <a:lnTo>
                    <a:pt x="40" y="407"/>
                  </a:lnTo>
                  <a:lnTo>
                    <a:pt x="73" y="403"/>
                  </a:lnTo>
                  <a:lnTo>
                    <a:pt x="97" y="399"/>
                  </a:lnTo>
                  <a:lnTo>
                    <a:pt x="109" y="399"/>
                  </a:lnTo>
                  <a:lnTo>
                    <a:pt x="125" y="399"/>
                  </a:lnTo>
                  <a:lnTo>
                    <a:pt x="137" y="399"/>
                  </a:lnTo>
                  <a:lnTo>
                    <a:pt x="141" y="403"/>
                  </a:lnTo>
                  <a:lnTo>
                    <a:pt x="141" y="407"/>
                  </a:lnTo>
                  <a:lnTo>
                    <a:pt x="149" y="407"/>
                  </a:lnTo>
                  <a:lnTo>
                    <a:pt x="157" y="415"/>
                  </a:lnTo>
                  <a:lnTo>
                    <a:pt x="169" y="420"/>
                  </a:lnTo>
                  <a:lnTo>
                    <a:pt x="185" y="420"/>
                  </a:lnTo>
                  <a:lnTo>
                    <a:pt x="202" y="420"/>
                  </a:lnTo>
                  <a:lnTo>
                    <a:pt x="206" y="411"/>
                  </a:lnTo>
                  <a:lnTo>
                    <a:pt x="206" y="407"/>
                  </a:lnTo>
                  <a:lnTo>
                    <a:pt x="218" y="399"/>
                  </a:lnTo>
                  <a:lnTo>
                    <a:pt x="226" y="387"/>
                  </a:lnTo>
                  <a:lnTo>
                    <a:pt x="230" y="379"/>
                  </a:lnTo>
                  <a:lnTo>
                    <a:pt x="230" y="363"/>
                  </a:lnTo>
                  <a:lnTo>
                    <a:pt x="246" y="355"/>
                  </a:lnTo>
                  <a:lnTo>
                    <a:pt x="274" y="343"/>
                  </a:lnTo>
                  <a:lnTo>
                    <a:pt x="307" y="311"/>
                  </a:lnTo>
                  <a:lnTo>
                    <a:pt x="343" y="282"/>
                  </a:lnTo>
                  <a:lnTo>
                    <a:pt x="347" y="262"/>
                  </a:lnTo>
                  <a:lnTo>
                    <a:pt x="351" y="250"/>
                  </a:lnTo>
                  <a:lnTo>
                    <a:pt x="351" y="246"/>
                  </a:lnTo>
                  <a:lnTo>
                    <a:pt x="355" y="242"/>
                  </a:lnTo>
                  <a:lnTo>
                    <a:pt x="355" y="230"/>
                  </a:lnTo>
                  <a:lnTo>
                    <a:pt x="355" y="214"/>
                  </a:lnTo>
                  <a:lnTo>
                    <a:pt x="363" y="186"/>
                  </a:lnTo>
                  <a:lnTo>
                    <a:pt x="371" y="165"/>
                  </a:lnTo>
                  <a:lnTo>
                    <a:pt x="383" y="141"/>
                  </a:lnTo>
                  <a:lnTo>
                    <a:pt x="395" y="133"/>
                  </a:lnTo>
                  <a:lnTo>
                    <a:pt x="399" y="121"/>
                  </a:lnTo>
                  <a:lnTo>
                    <a:pt x="403" y="117"/>
                  </a:lnTo>
                  <a:lnTo>
                    <a:pt x="407" y="109"/>
                  </a:lnTo>
                  <a:lnTo>
                    <a:pt x="415" y="101"/>
                  </a:lnTo>
                  <a:lnTo>
                    <a:pt x="424" y="81"/>
                  </a:lnTo>
                  <a:lnTo>
                    <a:pt x="424" y="52"/>
                  </a:lnTo>
                  <a:lnTo>
                    <a:pt x="424" y="44"/>
                  </a:lnTo>
                  <a:lnTo>
                    <a:pt x="424" y="32"/>
                  </a:lnTo>
                  <a:lnTo>
                    <a:pt x="440" y="32"/>
                  </a:lnTo>
                  <a:lnTo>
                    <a:pt x="460" y="32"/>
                  </a:lnTo>
                  <a:lnTo>
                    <a:pt x="464" y="40"/>
                  </a:lnTo>
                  <a:lnTo>
                    <a:pt x="468" y="44"/>
                  </a:lnTo>
                  <a:lnTo>
                    <a:pt x="488" y="44"/>
                  </a:lnTo>
                  <a:lnTo>
                    <a:pt x="504" y="40"/>
                  </a:lnTo>
                  <a:lnTo>
                    <a:pt x="504" y="36"/>
                  </a:lnTo>
                  <a:lnTo>
                    <a:pt x="512" y="32"/>
                  </a:lnTo>
                  <a:lnTo>
                    <a:pt x="524" y="24"/>
                  </a:lnTo>
                  <a:lnTo>
                    <a:pt x="528" y="20"/>
                  </a:lnTo>
                  <a:lnTo>
                    <a:pt x="545" y="16"/>
                  </a:lnTo>
                  <a:lnTo>
                    <a:pt x="553" y="12"/>
                  </a:lnTo>
                  <a:lnTo>
                    <a:pt x="573" y="8"/>
                  </a:lnTo>
                  <a:lnTo>
                    <a:pt x="589" y="0"/>
                  </a:lnTo>
                  <a:lnTo>
                    <a:pt x="605" y="0"/>
                  </a:lnTo>
                  <a:lnTo>
                    <a:pt x="621" y="0"/>
                  </a:lnTo>
                  <a:lnTo>
                    <a:pt x="641" y="8"/>
                  </a:lnTo>
                  <a:lnTo>
                    <a:pt x="662" y="20"/>
                  </a:lnTo>
                  <a:lnTo>
                    <a:pt x="670" y="32"/>
                  </a:lnTo>
                  <a:lnTo>
                    <a:pt x="682" y="44"/>
                  </a:lnTo>
                  <a:lnTo>
                    <a:pt x="718" y="48"/>
                  </a:lnTo>
                  <a:lnTo>
                    <a:pt x="758" y="48"/>
                  </a:lnTo>
                  <a:lnTo>
                    <a:pt x="774" y="32"/>
                  </a:lnTo>
                  <a:lnTo>
                    <a:pt x="795" y="12"/>
                  </a:lnTo>
                  <a:lnTo>
                    <a:pt x="795" y="8"/>
                  </a:lnTo>
                  <a:lnTo>
                    <a:pt x="799" y="0"/>
                  </a:lnTo>
                  <a:lnTo>
                    <a:pt x="815" y="0"/>
                  </a:lnTo>
                  <a:lnTo>
                    <a:pt x="823" y="0"/>
                  </a:lnTo>
                  <a:lnTo>
                    <a:pt x="847" y="4"/>
                  </a:lnTo>
                  <a:lnTo>
                    <a:pt x="875" y="12"/>
                  </a:lnTo>
                  <a:lnTo>
                    <a:pt x="928" y="16"/>
                  </a:lnTo>
                  <a:lnTo>
                    <a:pt x="976" y="16"/>
                  </a:lnTo>
                  <a:lnTo>
                    <a:pt x="984" y="20"/>
                  </a:lnTo>
                  <a:lnTo>
                    <a:pt x="988" y="24"/>
                  </a:lnTo>
                  <a:lnTo>
                    <a:pt x="1008" y="24"/>
                  </a:lnTo>
                  <a:lnTo>
                    <a:pt x="1021" y="24"/>
                  </a:lnTo>
                  <a:lnTo>
                    <a:pt x="1033" y="20"/>
                  </a:lnTo>
                  <a:lnTo>
                    <a:pt x="1037" y="16"/>
                  </a:lnTo>
                  <a:lnTo>
                    <a:pt x="1089" y="8"/>
                  </a:lnTo>
                  <a:lnTo>
                    <a:pt x="1109" y="8"/>
                  </a:lnTo>
                  <a:lnTo>
                    <a:pt x="1121" y="12"/>
                  </a:lnTo>
                  <a:lnTo>
                    <a:pt x="1134" y="16"/>
                  </a:lnTo>
                  <a:lnTo>
                    <a:pt x="1154" y="16"/>
                  </a:lnTo>
                  <a:lnTo>
                    <a:pt x="1174" y="20"/>
                  </a:lnTo>
                  <a:lnTo>
                    <a:pt x="1174" y="24"/>
                  </a:lnTo>
                  <a:lnTo>
                    <a:pt x="1178" y="24"/>
                  </a:lnTo>
                  <a:lnTo>
                    <a:pt x="1186" y="40"/>
                  </a:lnTo>
                  <a:lnTo>
                    <a:pt x="1186" y="52"/>
                  </a:lnTo>
                  <a:lnTo>
                    <a:pt x="1178" y="56"/>
                  </a:lnTo>
                  <a:lnTo>
                    <a:pt x="1178" y="60"/>
                  </a:lnTo>
                  <a:lnTo>
                    <a:pt x="1162" y="60"/>
                  </a:lnTo>
                  <a:lnTo>
                    <a:pt x="1150" y="60"/>
                  </a:lnTo>
                  <a:lnTo>
                    <a:pt x="1150" y="64"/>
                  </a:lnTo>
                  <a:lnTo>
                    <a:pt x="1142" y="69"/>
                  </a:lnTo>
                  <a:lnTo>
                    <a:pt x="1142" y="81"/>
                  </a:lnTo>
                  <a:lnTo>
                    <a:pt x="1142" y="93"/>
                  </a:lnTo>
                  <a:lnTo>
                    <a:pt x="1146" y="101"/>
                  </a:lnTo>
                  <a:lnTo>
                    <a:pt x="1150" y="109"/>
                  </a:lnTo>
                  <a:lnTo>
                    <a:pt x="1166" y="137"/>
                  </a:lnTo>
                  <a:lnTo>
                    <a:pt x="1190" y="161"/>
                  </a:lnTo>
                  <a:lnTo>
                    <a:pt x="1222" y="169"/>
                  </a:lnTo>
                  <a:lnTo>
                    <a:pt x="1250" y="181"/>
                  </a:lnTo>
                  <a:lnTo>
                    <a:pt x="1250" y="186"/>
                  </a:lnTo>
                  <a:lnTo>
                    <a:pt x="1250" y="194"/>
                  </a:lnTo>
                  <a:lnTo>
                    <a:pt x="1238" y="198"/>
                  </a:lnTo>
                  <a:lnTo>
                    <a:pt x="1226" y="198"/>
                  </a:lnTo>
                  <a:lnTo>
                    <a:pt x="1158" y="198"/>
                  </a:lnTo>
                  <a:lnTo>
                    <a:pt x="1097" y="198"/>
                  </a:lnTo>
                  <a:lnTo>
                    <a:pt x="1089" y="198"/>
                  </a:lnTo>
                  <a:lnTo>
                    <a:pt x="1077" y="198"/>
                  </a:lnTo>
                  <a:lnTo>
                    <a:pt x="1073" y="210"/>
                  </a:lnTo>
                  <a:lnTo>
                    <a:pt x="1069" y="222"/>
                  </a:lnTo>
                  <a:lnTo>
                    <a:pt x="1069" y="238"/>
                  </a:lnTo>
                  <a:lnTo>
                    <a:pt x="1069" y="250"/>
                  </a:lnTo>
                  <a:lnTo>
                    <a:pt x="1065" y="262"/>
                  </a:lnTo>
                  <a:lnTo>
                    <a:pt x="1057" y="282"/>
                  </a:lnTo>
                  <a:lnTo>
                    <a:pt x="1057" y="286"/>
                  </a:lnTo>
                  <a:lnTo>
                    <a:pt x="1057" y="294"/>
                  </a:lnTo>
                  <a:lnTo>
                    <a:pt x="1061" y="298"/>
                  </a:lnTo>
                  <a:lnTo>
                    <a:pt x="1065" y="303"/>
                  </a:lnTo>
                  <a:lnTo>
                    <a:pt x="1065" y="311"/>
                  </a:lnTo>
                  <a:lnTo>
                    <a:pt x="1065" y="319"/>
                  </a:lnTo>
                  <a:lnTo>
                    <a:pt x="1061" y="319"/>
                  </a:lnTo>
                  <a:lnTo>
                    <a:pt x="1061" y="327"/>
                  </a:lnTo>
                  <a:lnTo>
                    <a:pt x="1057" y="331"/>
                  </a:lnTo>
                  <a:lnTo>
                    <a:pt x="1045" y="331"/>
                  </a:lnTo>
                  <a:lnTo>
                    <a:pt x="1041" y="335"/>
                  </a:lnTo>
                  <a:lnTo>
                    <a:pt x="1041" y="339"/>
                  </a:lnTo>
                  <a:lnTo>
                    <a:pt x="1041" y="343"/>
                  </a:lnTo>
                  <a:lnTo>
                    <a:pt x="1041" y="351"/>
                  </a:lnTo>
                  <a:lnTo>
                    <a:pt x="1045" y="355"/>
                  </a:lnTo>
                  <a:lnTo>
                    <a:pt x="1049" y="363"/>
                  </a:lnTo>
                  <a:lnTo>
                    <a:pt x="1049" y="367"/>
                  </a:lnTo>
                  <a:lnTo>
                    <a:pt x="1049" y="375"/>
                  </a:lnTo>
                  <a:lnTo>
                    <a:pt x="1041" y="387"/>
                  </a:lnTo>
                  <a:lnTo>
                    <a:pt x="1029" y="403"/>
                  </a:lnTo>
                  <a:lnTo>
                    <a:pt x="1004" y="415"/>
                  </a:lnTo>
                  <a:lnTo>
                    <a:pt x="976" y="424"/>
                  </a:lnTo>
                  <a:lnTo>
                    <a:pt x="952" y="424"/>
                  </a:lnTo>
                  <a:lnTo>
                    <a:pt x="924" y="428"/>
                  </a:lnTo>
                  <a:lnTo>
                    <a:pt x="908" y="440"/>
                  </a:lnTo>
                  <a:lnTo>
                    <a:pt x="895" y="452"/>
                  </a:lnTo>
                  <a:lnTo>
                    <a:pt x="867" y="460"/>
                  </a:lnTo>
                  <a:lnTo>
                    <a:pt x="867" y="464"/>
                  </a:lnTo>
                  <a:lnTo>
                    <a:pt x="811" y="464"/>
                  </a:lnTo>
                  <a:lnTo>
                    <a:pt x="758" y="464"/>
                  </a:lnTo>
                  <a:lnTo>
                    <a:pt x="746" y="468"/>
                  </a:lnTo>
                  <a:lnTo>
                    <a:pt x="734" y="472"/>
                  </a:lnTo>
                  <a:lnTo>
                    <a:pt x="718" y="484"/>
                  </a:lnTo>
                  <a:lnTo>
                    <a:pt x="706" y="492"/>
                  </a:lnTo>
                  <a:lnTo>
                    <a:pt x="702" y="492"/>
                  </a:lnTo>
                  <a:lnTo>
                    <a:pt x="694" y="492"/>
                  </a:lnTo>
                  <a:lnTo>
                    <a:pt x="682" y="492"/>
                  </a:lnTo>
                  <a:lnTo>
                    <a:pt x="666" y="488"/>
                  </a:lnTo>
                  <a:lnTo>
                    <a:pt x="662" y="488"/>
                  </a:lnTo>
                  <a:lnTo>
                    <a:pt x="657" y="488"/>
                  </a:lnTo>
                  <a:lnTo>
                    <a:pt x="641" y="496"/>
                  </a:lnTo>
                  <a:lnTo>
                    <a:pt x="621" y="504"/>
                  </a:lnTo>
                  <a:lnTo>
                    <a:pt x="609" y="504"/>
                  </a:lnTo>
                  <a:lnTo>
                    <a:pt x="601" y="504"/>
                  </a:lnTo>
                  <a:lnTo>
                    <a:pt x="593" y="500"/>
                  </a:lnTo>
                  <a:lnTo>
                    <a:pt x="577" y="488"/>
                  </a:lnTo>
                  <a:lnTo>
                    <a:pt x="569" y="488"/>
                  </a:lnTo>
                  <a:lnTo>
                    <a:pt x="553" y="488"/>
                  </a:lnTo>
                  <a:lnTo>
                    <a:pt x="545" y="492"/>
                  </a:lnTo>
                  <a:lnTo>
                    <a:pt x="540" y="496"/>
                  </a:lnTo>
                  <a:lnTo>
                    <a:pt x="536" y="504"/>
                  </a:lnTo>
                  <a:lnTo>
                    <a:pt x="528" y="512"/>
                  </a:lnTo>
                  <a:lnTo>
                    <a:pt x="524" y="520"/>
                  </a:lnTo>
                  <a:lnTo>
                    <a:pt x="520" y="520"/>
                  </a:lnTo>
                  <a:lnTo>
                    <a:pt x="516" y="520"/>
                  </a:lnTo>
                  <a:lnTo>
                    <a:pt x="504" y="520"/>
                  </a:lnTo>
                  <a:lnTo>
                    <a:pt x="500" y="512"/>
                  </a:lnTo>
                  <a:lnTo>
                    <a:pt x="492" y="508"/>
                  </a:lnTo>
                  <a:lnTo>
                    <a:pt x="460" y="500"/>
                  </a:lnTo>
                  <a:lnTo>
                    <a:pt x="424" y="492"/>
                  </a:lnTo>
                  <a:lnTo>
                    <a:pt x="383" y="484"/>
                  </a:lnTo>
                  <a:lnTo>
                    <a:pt x="347" y="480"/>
                  </a:lnTo>
                  <a:lnTo>
                    <a:pt x="343" y="480"/>
                  </a:lnTo>
                  <a:lnTo>
                    <a:pt x="335" y="480"/>
                  </a:lnTo>
                  <a:lnTo>
                    <a:pt x="327" y="484"/>
                  </a:lnTo>
                  <a:lnTo>
                    <a:pt x="323" y="484"/>
                  </a:lnTo>
                  <a:lnTo>
                    <a:pt x="319" y="500"/>
                  </a:lnTo>
                  <a:lnTo>
                    <a:pt x="319" y="512"/>
                  </a:lnTo>
                  <a:lnTo>
                    <a:pt x="319" y="528"/>
                  </a:lnTo>
                  <a:lnTo>
                    <a:pt x="319" y="541"/>
                  </a:lnTo>
                  <a:lnTo>
                    <a:pt x="319" y="557"/>
                  </a:lnTo>
                  <a:lnTo>
                    <a:pt x="323" y="569"/>
                  </a:lnTo>
                  <a:lnTo>
                    <a:pt x="319" y="577"/>
                  </a:lnTo>
                  <a:lnTo>
                    <a:pt x="311" y="581"/>
                  </a:lnTo>
                  <a:lnTo>
                    <a:pt x="302" y="581"/>
                  </a:lnTo>
                  <a:lnTo>
                    <a:pt x="290" y="581"/>
                  </a:lnTo>
                  <a:lnTo>
                    <a:pt x="286" y="577"/>
                  </a:lnTo>
                  <a:lnTo>
                    <a:pt x="278" y="561"/>
                  </a:lnTo>
                  <a:lnTo>
                    <a:pt x="278" y="549"/>
                  </a:lnTo>
                  <a:lnTo>
                    <a:pt x="266" y="532"/>
                  </a:lnTo>
                  <a:lnTo>
                    <a:pt x="254" y="504"/>
                  </a:lnTo>
                  <a:lnTo>
                    <a:pt x="242" y="500"/>
                  </a:lnTo>
                  <a:lnTo>
                    <a:pt x="238" y="492"/>
                  </a:lnTo>
                  <a:lnTo>
                    <a:pt x="226" y="492"/>
                  </a:lnTo>
                  <a:lnTo>
                    <a:pt x="222" y="492"/>
                  </a:lnTo>
                  <a:lnTo>
                    <a:pt x="214" y="500"/>
                  </a:lnTo>
                  <a:lnTo>
                    <a:pt x="206" y="508"/>
                  </a:lnTo>
                  <a:lnTo>
                    <a:pt x="206" y="520"/>
                  </a:lnTo>
                  <a:lnTo>
                    <a:pt x="202" y="532"/>
                  </a:lnTo>
                  <a:lnTo>
                    <a:pt x="194" y="549"/>
                  </a:lnTo>
                  <a:lnTo>
                    <a:pt x="185" y="569"/>
                  </a:lnTo>
                  <a:lnTo>
                    <a:pt x="185" y="573"/>
                  </a:lnTo>
                  <a:lnTo>
                    <a:pt x="185" y="577"/>
                  </a:lnTo>
                  <a:lnTo>
                    <a:pt x="185" y="581"/>
                  </a:lnTo>
                  <a:lnTo>
                    <a:pt x="190" y="581"/>
                  </a:lnTo>
                  <a:lnTo>
                    <a:pt x="190" y="589"/>
                  </a:lnTo>
                  <a:lnTo>
                    <a:pt x="190" y="597"/>
                  </a:lnTo>
                  <a:lnTo>
                    <a:pt x="185" y="597"/>
                  </a:lnTo>
                  <a:lnTo>
                    <a:pt x="181" y="613"/>
                  </a:lnTo>
                  <a:lnTo>
                    <a:pt x="181" y="625"/>
                  </a:lnTo>
                  <a:lnTo>
                    <a:pt x="165" y="633"/>
                  </a:lnTo>
                  <a:lnTo>
                    <a:pt x="157" y="637"/>
                  </a:lnTo>
                  <a:lnTo>
                    <a:pt x="125" y="649"/>
                  </a:lnTo>
                  <a:lnTo>
                    <a:pt x="97" y="662"/>
                  </a:lnTo>
                  <a:lnTo>
                    <a:pt x="77" y="666"/>
                  </a:lnTo>
                  <a:lnTo>
                    <a:pt x="52" y="682"/>
                  </a:lnTo>
                  <a:lnTo>
                    <a:pt x="44" y="682"/>
                  </a:lnTo>
                  <a:lnTo>
                    <a:pt x="36" y="674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00" b="1">
                <a:latin typeface="+mn-lt"/>
                <a:cs typeface="+mn-cs"/>
              </a:endParaRPr>
            </a:p>
          </p:txBody>
        </p:sp>
        <p:sp>
          <p:nvSpPr>
            <p:cNvPr id="136" name="Freeform 44"/>
            <p:cNvSpPr>
              <a:spLocks/>
            </p:cNvSpPr>
            <p:nvPr/>
          </p:nvSpPr>
          <p:spPr bwMode="auto">
            <a:xfrm>
              <a:off x="2521034" y="3006159"/>
              <a:ext cx="1071562" cy="946893"/>
            </a:xfrm>
            <a:custGeom>
              <a:avLst/>
              <a:gdLst>
                <a:gd name="T0" fmla="*/ 285926661 w 1194"/>
                <a:gd name="T1" fmla="*/ 770681119 h 1065"/>
                <a:gd name="T2" fmla="*/ 231157603 w 1194"/>
                <a:gd name="T3" fmla="*/ 727486984 h 1065"/>
                <a:gd name="T4" fmla="*/ 182026416 w 1194"/>
                <a:gd name="T5" fmla="*/ 691112472 h 1065"/>
                <a:gd name="T6" fmla="*/ 162696128 w 1194"/>
                <a:gd name="T7" fmla="*/ 644886329 h 1065"/>
                <a:gd name="T8" fmla="*/ 146587703 w 1194"/>
                <a:gd name="T9" fmla="*/ 608512687 h 1065"/>
                <a:gd name="T10" fmla="*/ 124035551 w 1194"/>
                <a:gd name="T11" fmla="*/ 538037450 h 1065"/>
                <a:gd name="T12" fmla="*/ 97456488 w 1194"/>
                <a:gd name="T13" fmla="*/ 495600664 h 1065"/>
                <a:gd name="T14" fmla="*/ 62017775 w 1194"/>
                <a:gd name="T15" fmla="*/ 378899176 h 1065"/>
                <a:gd name="T16" fmla="*/ 33022777 w 1194"/>
                <a:gd name="T17" fmla="*/ 333431253 h 1065"/>
                <a:gd name="T18" fmla="*/ 12886563 w 1194"/>
                <a:gd name="T19" fmla="*/ 232644648 h 1065"/>
                <a:gd name="T20" fmla="*/ 0 w 1194"/>
                <a:gd name="T21" fmla="*/ 128067762 h 1065"/>
                <a:gd name="T22" fmla="*/ 36243744 w 1194"/>
                <a:gd name="T23" fmla="*/ 100787503 h 1065"/>
                <a:gd name="T24" fmla="*/ 19330296 w 1194"/>
                <a:gd name="T25" fmla="*/ 61381854 h 1065"/>
                <a:gd name="T26" fmla="*/ 62017775 w 1194"/>
                <a:gd name="T27" fmla="*/ 18186828 h 1065"/>
                <a:gd name="T28" fmla="*/ 84569928 w 1194"/>
                <a:gd name="T29" fmla="*/ 46225285 h 1065"/>
                <a:gd name="T30" fmla="*/ 172360823 w 1194"/>
                <a:gd name="T31" fmla="*/ 100787503 h 1065"/>
                <a:gd name="T32" fmla="*/ 201356705 w 1194"/>
                <a:gd name="T33" fmla="*/ 27281109 h 1065"/>
                <a:gd name="T34" fmla="*/ 250487948 w 1194"/>
                <a:gd name="T35" fmla="*/ 0 h 1065"/>
                <a:gd name="T36" fmla="*/ 338278815 w 1194"/>
                <a:gd name="T37" fmla="*/ 39405663 h 1065"/>
                <a:gd name="T38" fmla="*/ 386604985 w 1194"/>
                <a:gd name="T39" fmla="*/ 79568675 h 1065"/>
                <a:gd name="T40" fmla="*/ 426070579 w 1194"/>
                <a:gd name="T41" fmla="*/ 137919392 h 1065"/>
                <a:gd name="T42" fmla="*/ 464731156 w 1194"/>
                <a:gd name="T43" fmla="*/ 192480725 h 1065"/>
                <a:gd name="T44" fmla="*/ 510640591 w 1194"/>
                <a:gd name="T45" fmla="*/ 232644648 h 1065"/>
                <a:gd name="T46" fmla="*/ 608097051 w 1194"/>
                <a:gd name="T47" fmla="*/ 265987153 h 1065"/>
                <a:gd name="T48" fmla="*/ 760322512 w 1194"/>
                <a:gd name="T49" fmla="*/ 247800332 h 1065"/>
                <a:gd name="T50" fmla="*/ 806231836 w 1194"/>
                <a:gd name="T51" fmla="*/ 262956016 h 1065"/>
                <a:gd name="T52" fmla="*/ 854557108 w 1194"/>
                <a:gd name="T53" fmla="*/ 302361666 h 1065"/>
                <a:gd name="T54" fmla="*/ 906910160 w 1194"/>
                <a:gd name="T55" fmla="*/ 327368980 h 1065"/>
                <a:gd name="T56" fmla="*/ 932684177 w 1194"/>
                <a:gd name="T57" fmla="*/ 409968764 h 1065"/>
                <a:gd name="T58" fmla="*/ 961679385 w 1194"/>
                <a:gd name="T59" fmla="*/ 467562213 h 1065"/>
                <a:gd name="T60" fmla="*/ 935905144 w 1194"/>
                <a:gd name="T61" fmla="*/ 479686761 h 1065"/>
                <a:gd name="T62" fmla="*/ 926240448 w 1194"/>
                <a:gd name="T63" fmla="*/ 535006314 h 1065"/>
                <a:gd name="T64" fmla="*/ 945570961 w 1194"/>
                <a:gd name="T65" fmla="*/ 587293859 h 1065"/>
                <a:gd name="T66" fmla="*/ 948792825 w 1194"/>
                <a:gd name="T67" fmla="*/ 660042884 h 1065"/>
                <a:gd name="T68" fmla="*/ 864222701 w 1194"/>
                <a:gd name="T69" fmla="*/ 644886329 h 1065"/>
                <a:gd name="T70" fmla="*/ 828783988 w 1194"/>
                <a:gd name="T71" fmla="*/ 614574961 h 1065"/>
                <a:gd name="T72" fmla="*/ 769987208 w 1194"/>
                <a:gd name="T73" fmla="*/ 578200449 h 1065"/>
                <a:gd name="T74" fmla="*/ 633870171 w 1194"/>
                <a:gd name="T75" fmla="*/ 614574961 h 1065"/>
                <a:gd name="T76" fmla="*/ 562187728 w 1194"/>
                <a:gd name="T77" fmla="*/ 635792919 h 1065"/>
                <a:gd name="T78" fmla="*/ 461509292 w 1194"/>
                <a:gd name="T79" fmla="*/ 623668372 h 1065"/>
                <a:gd name="T80" fmla="*/ 426070579 w 1194"/>
                <a:gd name="T81" fmla="*/ 553193135 h 1065"/>
                <a:gd name="T82" fmla="*/ 386604985 w 1194"/>
                <a:gd name="T83" fmla="*/ 495600664 h 1065"/>
                <a:gd name="T84" fmla="*/ 357609103 w 1194"/>
                <a:gd name="T85" fmla="*/ 431187592 h 1065"/>
                <a:gd name="T86" fmla="*/ 364052832 w 1194"/>
                <a:gd name="T87" fmla="*/ 366774629 h 1065"/>
                <a:gd name="T88" fmla="*/ 285926661 w 1194"/>
                <a:gd name="T89" fmla="*/ 397086868 h 1065"/>
                <a:gd name="T90" fmla="*/ 279482932 w 1194"/>
                <a:gd name="T91" fmla="*/ 458467933 h 1065"/>
                <a:gd name="T92" fmla="*/ 302035085 w 1194"/>
                <a:gd name="T93" fmla="*/ 513787485 h 1065"/>
                <a:gd name="T94" fmla="*/ 295591356 w 1194"/>
                <a:gd name="T95" fmla="*/ 568348819 h 1065"/>
                <a:gd name="T96" fmla="*/ 309283831 w 1194"/>
                <a:gd name="T97" fmla="*/ 623668372 h 1065"/>
                <a:gd name="T98" fmla="*/ 325392255 w 1194"/>
                <a:gd name="T99" fmla="*/ 694143609 h 1065"/>
                <a:gd name="T100" fmla="*/ 386604985 w 1194"/>
                <a:gd name="T101" fmla="*/ 694143609 h 1065"/>
                <a:gd name="T102" fmla="*/ 422848715 w 1194"/>
                <a:gd name="T103" fmla="*/ 718392703 h 1065"/>
                <a:gd name="T104" fmla="*/ 406740291 w 1194"/>
                <a:gd name="T105" fmla="*/ 800993358 h 106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194"/>
                <a:gd name="T160" fmla="*/ 0 h 1065"/>
                <a:gd name="T161" fmla="*/ 1194 w 1194"/>
                <a:gd name="T162" fmla="*/ 1065 h 106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194" h="1065">
                  <a:moveTo>
                    <a:pt x="420" y="1065"/>
                  </a:moveTo>
                  <a:lnTo>
                    <a:pt x="412" y="1065"/>
                  </a:lnTo>
                  <a:lnTo>
                    <a:pt x="388" y="1057"/>
                  </a:lnTo>
                  <a:lnTo>
                    <a:pt x="367" y="1049"/>
                  </a:lnTo>
                  <a:lnTo>
                    <a:pt x="355" y="1041"/>
                  </a:lnTo>
                  <a:lnTo>
                    <a:pt x="355" y="1017"/>
                  </a:lnTo>
                  <a:lnTo>
                    <a:pt x="351" y="997"/>
                  </a:lnTo>
                  <a:lnTo>
                    <a:pt x="347" y="988"/>
                  </a:lnTo>
                  <a:lnTo>
                    <a:pt x="335" y="980"/>
                  </a:lnTo>
                  <a:lnTo>
                    <a:pt x="315" y="980"/>
                  </a:lnTo>
                  <a:lnTo>
                    <a:pt x="295" y="980"/>
                  </a:lnTo>
                  <a:lnTo>
                    <a:pt x="287" y="960"/>
                  </a:lnTo>
                  <a:lnTo>
                    <a:pt x="287" y="944"/>
                  </a:lnTo>
                  <a:lnTo>
                    <a:pt x="283" y="932"/>
                  </a:lnTo>
                  <a:lnTo>
                    <a:pt x="275" y="924"/>
                  </a:lnTo>
                  <a:lnTo>
                    <a:pt x="258" y="924"/>
                  </a:lnTo>
                  <a:lnTo>
                    <a:pt x="246" y="920"/>
                  </a:lnTo>
                  <a:lnTo>
                    <a:pt x="226" y="912"/>
                  </a:lnTo>
                  <a:lnTo>
                    <a:pt x="218" y="908"/>
                  </a:lnTo>
                  <a:lnTo>
                    <a:pt x="214" y="900"/>
                  </a:lnTo>
                  <a:lnTo>
                    <a:pt x="210" y="888"/>
                  </a:lnTo>
                  <a:lnTo>
                    <a:pt x="210" y="871"/>
                  </a:lnTo>
                  <a:lnTo>
                    <a:pt x="206" y="851"/>
                  </a:lnTo>
                  <a:lnTo>
                    <a:pt x="202" y="851"/>
                  </a:lnTo>
                  <a:lnTo>
                    <a:pt x="198" y="839"/>
                  </a:lnTo>
                  <a:lnTo>
                    <a:pt x="198" y="827"/>
                  </a:lnTo>
                  <a:lnTo>
                    <a:pt x="190" y="823"/>
                  </a:lnTo>
                  <a:lnTo>
                    <a:pt x="186" y="823"/>
                  </a:lnTo>
                  <a:lnTo>
                    <a:pt x="186" y="811"/>
                  </a:lnTo>
                  <a:lnTo>
                    <a:pt x="182" y="803"/>
                  </a:lnTo>
                  <a:lnTo>
                    <a:pt x="174" y="799"/>
                  </a:lnTo>
                  <a:lnTo>
                    <a:pt x="170" y="791"/>
                  </a:lnTo>
                  <a:lnTo>
                    <a:pt x="162" y="775"/>
                  </a:lnTo>
                  <a:lnTo>
                    <a:pt x="158" y="775"/>
                  </a:lnTo>
                  <a:lnTo>
                    <a:pt x="158" y="742"/>
                  </a:lnTo>
                  <a:lnTo>
                    <a:pt x="154" y="710"/>
                  </a:lnTo>
                  <a:lnTo>
                    <a:pt x="150" y="698"/>
                  </a:lnTo>
                  <a:lnTo>
                    <a:pt x="145" y="682"/>
                  </a:lnTo>
                  <a:lnTo>
                    <a:pt x="133" y="674"/>
                  </a:lnTo>
                  <a:lnTo>
                    <a:pt x="125" y="662"/>
                  </a:lnTo>
                  <a:lnTo>
                    <a:pt x="125" y="658"/>
                  </a:lnTo>
                  <a:lnTo>
                    <a:pt x="121" y="654"/>
                  </a:lnTo>
                  <a:lnTo>
                    <a:pt x="105" y="633"/>
                  </a:lnTo>
                  <a:lnTo>
                    <a:pt x="93" y="621"/>
                  </a:lnTo>
                  <a:lnTo>
                    <a:pt x="93" y="569"/>
                  </a:lnTo>
                  <a:lnTo>
                    <a:pt x="89" y="524"/>
                  </a:lnTo>
                  <a:lnTo>
                    <a:pt x="81" y="512"/>
                  </a:lnTo>
                  <a:lnTo>
                    <a:pt x="77" y="500"/>
                  </a:lnTo>
                  <a:lnTo>
                    <a:pt x="73" y="484"/>
                  </a:lnTo>
                  <a:lnTo>
                    <a:pt x="65" y="472"/>
                  </a:lnTo>
                  <a:lnTo>
                    <a:pt x="57" y="464"/>
                  </a:lnTo>
                  <a:lnTo>
                    <a:pt x="45" y="456"/>
                  </a:lnTo>
                  <a:lnTo>
                    <a:pt x="41" y="448"/>
                  </a:lnTo>
                  <a:lnTo>
                    <a:pt x="41" y="440"/>
                  </a:lnTo>
                  <a:lnTo>
                    <a:pt x="41" y="391"/>
                  </a:lnTo>
                  <a:lnTo>
                    <a:pt x="41" y="339"/>
                  </a:lnTo>
                  <a:lnTo>
                    <a:pt x="37" y="327"/>
                  </a:lnTo>
                  <a:lnTo>
                    <a:pt x="29" y="323"/>
                  </a:lnTo>
                  <a:lnTo>
                    <a:pt x="24" y="315"/>
                  </a:lnTo>
                  <a:lnTo>
                    <a:pt x="16" y="307"/>
                  </a:lnTo>
                  <a:lnTo>
                    <a:pt x="16" y="286"/>
                  </a:lnTo>
                  <a:lnTo>
                    <a:pt x="16" y="254"/>
                  </a:lnTo>
                  <a:lnTo>
                    <a:pt x="8" y="210"/>
                  </a:lnTo>
                  <a:lnTo>
                    <a:pt x="0" y="182"/>
                  </a:lnTo>
                  <a:lnTo>
                    <a:pt x="0" y="173"/>
                  </a:lnTo>
                  <a:lnTo>
                    <a:pt x="0" y="169"/>
                  </a:lnTo>
                  <a:lnTo>
                    <a:pt x="4" y="157"/>
                  </a:lnTo>
                  <a:lnTo>
                    <a:pt x="8" y="145"/>
                  </a:lnTo>
                  <a:lnTo>
                    <a:pt x="16" y="145"/>
                  </a:lnTo>
                  <a:lnTo>
                    <a:pt x="24" y="145"/>
                  </a:lnTo>
                  <a:lnTo>
                    <a:pt x="37" y="141"/>
                  </a:lnTo>
                  <a:lnTo>
                    <a:pt x="45" y="133"/>
                  </a:lnTo>
                  <a:lnTo>
                    <a:pt x="45" y="121"/>
                  </a:lnTo>
                  <a:lnTo>
                    <a:pt x="45" y="105"/>
                  </a:lnTo>
                  <a:lnTo>
                    <a:pt x="37" y="101"/>
                  </a:lnTo>
                  <a:lnTo>
                    <a:pt x="29" y="97"/>
                  </a:lnTo>
                  <a:lnTo>
                    <a:pt x="29" y="93"/>
                  </a:lnTo>
                  <a:lnTo>
                    <a:pt x="24" y="81"/>
                  </a:lnTo>
                  <a:lnTo>
                    <a:pt x="45" y="65"/>
                  </a:lnTo>
                  <a:lnTo>
                    <a:pt x="57" y="48"/>
                  </a:lnTo>
                  <a:lnTo>
                    <a:pt x="65" y="32"/>
                  </a:lnTo>
                  <a:lnTo>
                    <a:pt x="69" y="24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8"/>
                  </a:lnTo>
                  <a:lnTo>
                    <a:pt x="93" y="36"/>
                  </a:lnTo>
                  <a:lnTo>
                    <a:pt x="93" y="48"/>
                  </a:lnTo>
                  <a:lnTo>
                    <a:pt x="97" y="56"/>
                  </a:lnTo>
                  <a:lnTo>
                    <a:pt x="101" y="56"/>
                  </a:lnTo>
                  <a:lnTo>
                    <a:pt x="105" y="61"/>
                  </a:lnTo>
                  <a:lnTo>
                    <a:pt x="105" y="93"/>
                  </a:lnTo>
                  <a:lnTo>
                    <a:pt x="105" y="105"/>
                  </a:lnTo>
                  <a:lnTo>
                    <a:pt x="145" y="121"/>
                  </a:lnTo>
                  <a:lnTo>
                    <a:pt x="182" y="141"/>
                  </a:lnTo>
                  <a:lnTo>
                    <a:pt x="202" y="141"/>
                  </a:lnTo>
                  <a:lnTo>
                    <a:pt x="214" y="133"/>
                  </a:lnTo>
                  <a:lnTo>
                    <a:pt x="222" y="129"/>
                  </a:lnTo>
                  <a:lnTo>
                    <a:pt x="234" y="121"/>
                  </a:lnTo>
                  <a:lnTo>
                    <a:pt x="234" y="85"/>
                  </a:lnTo>
                  <a:lnTo>
                    <a:pt x="234" y="56"/>
                  </a:lnTo>
                  <a:lnTo>
                    <a:pt x="238" y="48"/>
                  </a:lnTo>
                  <a:lnTo>
                    <a:pt x="250" y="36"/>
                  </a:lnTo>
                  <a:lnTo>
                    <a:pt x="258" y="36"/>
                  </a:lnTo>
                  <a:lnTo>
                    <a:pt x="271" y="32"/>
                  </a:lnTo>
                  <a:lnTo>
                    <a:pt x="287" y="16"/>
                  </a:lnTo>
                  <a:lnTo>
                    <a:pt x="299" y="4"/>
                  </a:lnTo>
                  <a:lnTo>
                    <a:pt x="303" y="0"/>
                  </a:lnTo>
                  <a:lnTo>
                    <a:pt x="311" y="0"/>
                  </a:lnTo>
                  <a:lnTo>
                    <a:pt x="339" y="0"/>
                  </a:lnTo>
                  <a:lnTo>
                    <a:pt x="367" y="4"/>
                  </a:lnTo>
                  <a:lnTo>
                    <a:pt x="396" y="20"/>
                  </a:lnTo>
                  <a:lnTo>
                    <a:pt x="404" y="28"/>
                  </a:lnTo>
                  <a:lnTo>
                    <a:pt x="412" y="36"/>
                  </a:lnTo>
                  <a:lnTo>
                    <a:pt x="420" y="52"/>
                  </a:lnTo>
                  <a:lnTo>
                    <a:pt x="428" y="56"/>
                  </a:lnTo>
                  <a:lnTo>
                    <a:pt x="432" y="61"/>
                  </a:lnTo>
                  <a:lnTo>
                    <a:pt x="436" y="69"/>
                  </a:lnTo>
                  <a:lnTo>
                    <a:pt x="444" y="81"/>
                  </a:lnTo>
                  <a:lnTo>
                    <a:pt x="464" y="97"/>
                  </a:lnTo>
                  <a:lnTo>
                    <a:pt x="480" y="105"/>
                  </a:lnTo>
                  <a:lnTo>
                    <a:pt x="480" y="117"/>
                  </a:lnTo>
                  <a:lnTo>
                    <a:pt x="492" y="133"/>
                  </a:lnTo>
                  <a:lnTo>
                    <a:pt x="496" y="141"/>
                  </a:lnTo>
                  <a:lnTo>
                    <a:pt x="509" y="153"/>
                  </a:lnTo>
                  <a:lnTo>
                    <a:pt x="521" y="178"/>
                  </a:lnTo>
                  <a:lnTo>
                    <a:pt x="529" y="182"/>
                  </a:lnTo>
                  <a:lnTo>
                    <a:pt x="529" y="194"/>
                  </a:lnTo>
                  <a:lnTo>
                    <a:pt x="533" y="206"/>
                  </a:lnTo>
                  <a:lnTo>
                    <a:pt x="557" y="226"/>
                  </a:lnTo>
                  <a:lnTo>
                    <a:pt x="561" y="246"/>
                  </a:lnTo>
                  <a:lnTo>
                    <a:pt x="569" y="250"/>
                  </a:lnTo>
                  <a:lnTo>
                    <a:pt x="577" y="254"/>
                  </a:lnTo>
                  <a:lnTo>
                    <a:pt x="581" y="258"/>
                  </a:lnTo>
                  <a:lnTo>
                    <a:pt x="593" y="266"/>
                  </a:lnTo>
                  <a:lnTo>
                    <a:pt x="597" y="270"/>
                  </a:lnTo>
                  <a:lnTo>
                    <a:pt x="605" y="270"/>
                  </a:lnTo>
                  <a:lnTo>
                    <a:pt x="622" y="290"/>
                  </a:lnTo>
                  <a:lnTo>
                    <a:pt x="634" y="307"/>
                  </a:lnTo>
                  <a:lnTo>
                    <a:pt x="650" y="315"/>
                  </a:lnTo>
                  <a:lnTo>
                    <a:pt x="666" y="323"/>
                  </a:lnTo>
                  <a:lnTo>
                    <a:pt x="674" y="327"/>
                  </a:lnTo>
                  <a:lnTo>
                    <a:pt x="690" y="327"/>
                  </a:lnTo>
                  <a:lnTo>
                    <a:pt x="710" y="335"/>
                  </a:lnTo>
                  <a:lnTo>
                    <a:pt x="755" y="351"/>
                  </a:lnTo>
                  <a:lnTo>
                    <a:pt x="787" y="359"/>
                  </a:lnTo>
                  <a:lnTo>
                    <a:pt x="860" y="359"/>
                  </a:lnTo>
                  <a:lnTo>
                    <a:pt x="872" y="351"/>
                  </a:lnTo>
                  <a:lnTo>
                    <a:pt x="884" y="343"/>
                  </a:lnTo>
                  <a:lnTo>
                    <a:pt x="916" y="335"/>
                  </a:lnTo>
                  <a:lnTo>
                    <a:pt x="944" y="327"/>
                  </a:lnTo>
                  <a:lnTo>
                    <a:pt x="964" y="327"/>
                  </a:lnTo>
                  <a:lnTo>
                    <a:pt x="981" y="327"/>
                  </a:lnTo>
                  <a:lnTo>
                    <a:pt x="985" y="335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7"/>
                  </a:lnTo>
                  <a:lnTo>
                    <a:pt x="1017" y="363"/>
                  </a:lnTo>
                  <a:lnTo>
                    <a:pt x="1029" y="375"/>
                  </a:lnTo>
                  <a:lnTo>
                    <a:pt x="1033" y="375"/>
                  </a:lnTo>
                  <a:lnTo>
                    <a:pt x="1045" y="379"/>
                  </a:lnTo>
                  <a:lnTo>
                    <a:pt x="1061" y="387"/>
                  </a:lnTo>
                  <a:lnTo>
                    <a:pt x="1061" y="399"/>
                  </a:lnTo>
                  <a:lnTo>
                    <a:pt x="1073" y="399"/>
                  </a:lnTo>
                  <a:lnTo>
                    <a:pt x="1077" y="399"/>
                  </a:lnTo>
                  <a:lnTo>
                    <a:pt x="1094" y="416"/>
                  </a:lnTo>
                  <a:lnTo>
                    <a:pt x="1106" y="428"/>
                  </a:lnTo>
                  <a:lnTo>
                    <a:pt x="1114" y="428"/>
                  </a:lnTo>
                  <a:lnTo>
                    <a:pt x="1126" y="432"/>
                  </a:lnTo>
                  <a:lnTo>
                    <a:pt x="1130" y="440"/>
                  </a:lnTo>
                  <a:lnTo>
                    <a:pt x="1134" y="452"/>
                  </a:lnTo>
                  <a:lnTo>
                    <a:pt x="1142" y="480"/>
                  </a:lnTo>
                  <a:lnTo>
                    <a:pt x="1150" y="512"/>
                  </a:lnTo>
                  <a:lnTo>
                    <a:pt x="1154" y="516"/>
                  </a:lnTo>
                  <a:lnTo>
                    <a:pt x="1158" y="541"/>
                  </a:lnTo>
                  <a:lnTo>
                    <a:pt x="1158" y="557"/>
                  </a:lnTo>
                  <a:lnTo>
                    <a:pt x="1158" y="581"/>
                  </a:lnTo>
                  <a:lnTo>
                    <a:pt x="1170" y="585"/>
                  </a:lnTo>
                  <a:lnTo>
                    <a:pt x="1190" y="593"/>
                  </a:lnTo>
                  <a:lnTo>
                    <a:pt x="1194" y="597"/>
                  </a:lnTo>
                  <a:lnTo>
                    <a:pt x="1194" y="617"/>
                  </a:lnTo>
                  <a:lnTo>
                    <a:pt x="1194" y="625"/>
                  </a:lnTo>
                  <a:lnTo>
                    <a:pt x="1186" y="633"/>
                  </a:lnTo>
                  <a:lnTo>
                    <a:pt x="1178" y="641"/>
                  </a:lnTo>
                  <a:lnTo>
                    <a:pt x="1178" y="633"/>
                  </a:lnTo>
                  <a:lnTo>
                    <a:pt x="1170" y="633"/>
                  </a:lnTo>
                  <a:lnTo>
                    <a:pt x="1162" y="633"/>
                  </a:lnTo>
                  <a:lnTo>
                    <a:pt x="1158" y="646"/>
                  </a:lnTo>
                  <a:lnTo>
                    <a:pt x="1150" y="654"/>
                  </a:lnTo>
                  <a:lnTo>
                    <a:pt x="1150" y="658"/>
                  </a:lnTo>
                  <a:lnTo>
                    <a:pt x="1142" y="662"/>
                  </a:lnTo>
                  <a:lnTo>
                    <a:pt x="1150" y="682"/>
                  </a:lnTo>
                  <a:lnTo>
                    <a:pt x="1150" y="706"/>
                  </a:lnTo>
                  <a:lnTo>
                    <a:pt x="1154" y="710"/>
                  </a:lnTo>
                  <a:lnTo>
                    <a:pt x="1158" y="714"/>
                  </a:lnTo>
                  <a:lnTo>
                    <a:pt x="1158" y="726"/>
                  </a:lnTo>
                  <a:lnTo>
                    <a:pt x="1162" y="742"/>
                  </a:lnTo>
                  <a:lnTo>
                    <a:pt x="1166" y="758"/>
                  </a:lnTo>
                  <a:lnTo>
                    <a:pt x="1174" y="775"/>
                  </a:lnTo>
                  <a:lnTo>
                    <a:pt x="1178" y="803"/>
                  </a:lnTo>
                  <a:lnTo>
                    <a:pt x="1190" y="831"/>
                  </a:lnTo>
                  <a:lnTo>
                    <a:pt x="1190" y="851"/>
                  </a:lnTo>
                  <a:lnTo>
                    <a:pt x="1190" y="867"/>
                  </a:lnTo>
                  <a:lnTo>
                    <a:pt x="1186" y="871"/>
                  </a:lnTo>
                  <a:lnTo>
                    <a:pt x="1178" y="871"/>
                  </a:lnTo>
                  <a:lnTo>
                    <a:pt x="1142" y="871"/>
                  </a:lnTo>
                  <a:lnTo>
                    <a:pt x="1106" y="871"/>
                  </a:lnTo>
                  <a:lnTo>
                    <a:pt x="1098" y="867"/>
                  </a:lnTo>
                  <a:lnTo>
                    <a:pt x="1081" y="859"/>
                  </a:lnTo>
                  <a:lnTo>
                    <a:pt x="1077" y="851"/>
                  </a:lnTo>
                  <a:lnTo>
                    <a:pt x="1073" y="851"/>
                  </a:lnTo>
                  <a:lnTo>
                    <a:pt x="1065" y="851"/>
                  </a:lnTo>
                  <a:lnTo>
                    <a:pt x="1061" y="847"/>
                  </a:lnTo>
                  <a:lnTo>
                    <a:pt x="1061" y="835"/>
                  </a:lnTo>
                  <a:lnTo>
                    <a:pt x="1049" y="823"/>
                  </a:lnTo>
                  <a:lnTo>
                    <a:pt x="1041" y="811"/>
                  </a:lnTo>
                  <a:lnTo>
                    <a:pt x="1029" y="811"/>
                  </a:lnTo>
                  <a:lnTo>
                    <a:pt x="1013" y="787"/>
                  </a:lnTo>
                  <a:lnTo>
                    <a:pt x="997" y="775"/>
                  </a:lnTo>
                  <a:lnTo>
                    <a:pt x="981" y="767"/>
                  </a:lnTo>
                  <a:lnTo>
                    <a:pt x="960" y="767"/>
                  </a:lnTo>
                  <a:lnTo>
                    <a:pt x="960" y="763"/>
                  </a:lnTo>
                  <a:lnTo>
                    <a:pt x="956" y="763"/>
                  </a:lnTo>
                  <a:lnTo>
                    <a:pt x="908" y="763"/>
                  </a:lnTo>
                  <a:lnTo>
                    <a:pt x="851" y="767"/>
                  </a:lnTo>
                  <a:lnTo>
                    <a:pt x="843" y="775"/>
                  </a:lnTo>
                  <a:lnTo>
                    <a:pt x="827" y="775"/>
                  </a:lnTo>
                  <a:lnTo>
                    <a:pt x="807" y="791"/>
                  </a:lnTo>
                  <a:lnTo>
                    <a:pt x="787" y="811"/>
                  </a:lnTo>
                  <a:lnTo>
                    <a:pt x="771" y="811"/>
                  </a:lnTo>
                  <a:lnTo>
                    <a:pt x="755" y="823"/>
                  </a:lnTo>
                  <a:lnTo>
                    <a:pt x="751" y="827"/>
                  </a:lnTo>
                  <a:lnTo>
                    <a:pt x="751" y="831"/>
                  </a:lnTo>
                  <a:lnTo>
                    <a:pt x="710" y="835"/>
                  </a:lnTo>
                  <a:lnTo>
                    <a:pt x="698" y="839"/>
                  </a:lnTo>
                  <a:lnTo>
                    <a:pt x="654" y="839"/>
                  </a:lnTo>
                  <a:lnTo>
                    <a:pt x="605" y="835"/>
                  </a:lnTo>
                  <a:lnTo>
                    <a:pt x="597" y="835"/>
                  </a:lnTo>
                  <a:lnTo>
                    <a:pt x="581" y="831"/>
                  </a:lnTo>
                  <a:lnTo>
                    <a:pt x="577" y="827"/>
                  </a:lnTo>
                  <a:lnTo>
                    <a:pt x="573" y="823"/>
                  </a:lnTo>
                  <a:lnTo>
                    <a:pt x="569" y="799"/>
                  </a:lnTo>
                  <a:lnTo>
                    <a:pt x="557" y="767"/>
                  </a:lnTo>
                  <a:lnTo>
                    <a:pt x="549" y="758"/>
                  </a:lnTo>
                  <a:lnTo>
                    <a:pt x="533" y="746"/>
                  </a:lnTo>
                  <a:lnTo>
                    <a:pt x="529" y="742"/>
                  </a:lnTo>
                  <a:lnTo>
                    <a:pt x="529" y="730"/>
                  </a:lnTo>
                  <a:lnTo>
                    <a:pt x="521" y="722"/>
                  </a:lnTo>
                  <a:lnTo>
                    <a:pt x="513" y="714"/>
                  </a:lnTo>
                  <a:lnTo>
                    <a:pt x="509" y="702"/>
                  </a:lnTo>
                  <a:lnTo>
                    <a:pt x="509" y="690"/>
                  </a:lnTo>
                  <a:lnTo>
                    <a:pt x="492" y="670"/>
                  </a:lnTo>
                  <a:lnTo>
                    <a:pt x="480" y="654"/>
                  </a:lnTo>
                  <a:lnTo>
                    <a:pt x="480" y="641"/>
                  </a:lnTo>
                  <a:lnTo>
                    <a:pt x="480" y="621"/>
                  </a:lnTo>
                  <a:lnTo>
                    <a:pt x="468" y="605"/>
                  </a:lnTo>
                  <a:lnTo>
                    <a:pt x="456" y="589"/>
                  </a:lnTo>
                  <a:lnTo>
                    <a:pt x="452" y="577"/>
                  </a:lnTo>
                  <a:lnTo>
                    <a:pt x="444" y="569"/>
                  </a:lnTo>
                  <a:lnTo>
                    <a:pt x="444" y="561"/>
                  </a:lnTo>
                  <a:lnTo>
                    <a:pt x="444" y="549"/>
                  </a:lnTo>
                  <a:lnTo>
                    <a:pt x="452" y="549"/>
                  </a:lnTo>
                  <a:lnTo>
                    <a:pt x="452" y="545"/>
                  </a:lnTo>
                  <a:lnTo>
                    <a:pt x="452" y="516"/>
                  </a:lnTo>
                  <a:lnTo>
                    <a:pt x="452" y="484"/>
                  </a:lnTo>
                  <a:lnTo>
                    <a:pt x="444" y="480"/>
                  </a:lnTo>
                  <a:lnTo>
                    <a:pt x="420" y="480"/>
                  </a:lnTo>
                  <a:lnTo>
                    <a:pt x="404" y="480"/>
                  </a:lnTo>
                  <a:lnTo>
                    <a:pt x="384" y="500"/>
                  </a:lnTo>
                  <a:lnTo>
                    <a:pt x="367" y="520"/>
                  </a:lnTo>
                  <a:lnTo>
                    <a:pt x="355" y="524"/>
                  </a:lnTo>
                  <a:lnTo>
                    <a:pt x="347" y="533"/>
                  </a:lnTo>
                  <a:lnTo>
                    <a:pt x="347" y="541"/>
                  </a:lnTo>
                  <a:lnTo>
                    <a:pt x="339" y="545"/>
                  </a:lnTo>
                  <a:lnTo>
                    <a:pt x="335" y="569"/>
                  </a:lnTo>
                  <a:lnTo>
                    <a:pt x="335" y="597"/>
                  </a:lnTo>
                  <a:lnTo>
                    <a:pt x="347" y="605"/>
                  </a:lnTo>
                  <a:lnTo>
                    <a:pt x="351" y="621"/>
                  </a:lnTo>
                  <a:lnTo>
                    <a:pt x="355" y="633"/>
                  </a:lnTo>
                  <a:lnTo>
                    <a:pt x="363" y="646"/>
                  </a:lnTo>
                  <a:lnTo>
                    <a:pt x="367" y="654"/>
                  </a:lnTo>
                  <a:lnTo>
                    <a:pt x="379" y="662"/>
                  </a:lnTo>
                  <a:lnTo>
                    <a:pt x="375" y="678"/>
                  </a:lnTo>
                  <a:lnTo>
                    <a:pt x="375" y="690"/>
                  </a:lnTo>
                  <a:lnTo>
                    <a:pt x="367" y="694"/>
                  </a:lnTo>
                  <a:lnTo>
                    <a:pt x="363" y="706"/>
                  </a:lnTo>
                  <a:lnTo>
                    <a:pt x="363" y="722"/>
                  </a:lnTo>
                  <a:lnTo>
                    <a:pt x="363" y="742"/>
                  </a:lnTo>
                  <a:lnTo>
                    <a:pt x="367" y="750"/>
                  </a:lnTo>
                  <a:lnTo>
                    <a:pt x="375" y="763"/>
                  </a:lnTo>
                  <a:lnTo>
                    <a:pt x="379" y="767"/>
                  </a:lnTo>
                  <a:lnTo>
                    <a:pt x="384" y="775"/>
                  </a:lnTo>
                  <a:lnTo>
                    <a:pt x="384" y="795"/>
                  </a:lnTo>
                  <a:lnTo>
                    <a:pt x="384" y="811"/>
                  </a:lnTo>
                  <a:lnTo>
                    <a:pt x="384" y="823"/>
                  </a:lnTo>
                  <a:lnTo>
                    <a:pt x="379" y="831"/>
                  </a:lnTo>
                  <a:lnTo>
                    <a:pt x="379" y="863"/>
                  </a:lnTo>
                  <a:lnTo>
                    <a:pt x="379" y="896"/>
                  </a:lnTo>
                  <a:lnTo>
                    <a:pt x="384" y="904"/>
                  </a:lnTo>
                  <a:lnTo>
                    <a:pt x="396" y="912"/>
                  </a:lnTo>
                  <a:lnTo>
                    <a:pt x="404" y="916"/>
                  </a:lnTo>
                  <a:lnTo>
                    <a:pt x="412" y="920"/>
                  </a:lnTo>
                  <a:lnTo>
                    <a:pt x="444" y="920"/>
                  </a:lnTo>
                  <a:lnTo>
                    <a:pt x="472" y="920"/>
                  </a:lnTo>
                  <a:lnTo>
                    <a:pt x="472" y="916"/>
                  </a:lnTo>
                  <a:lnTo>
                    <a:pt x="480" y="916"/>
                  </a:lnTo>
                  <a:lnTo>
                    <a:pt x="488" y="916"/>
                  </a:lnTo>
                  <a:lnTo>
                    <a:pt x="496" y="916"/>
                  </a:lnTo>
                  <a:lnTo>
                    <a:pt x="509" y="924"/>
                  </a:lnTo>
                  <a:lnTo>
                    <a:pt x="517" y="932"/>
                  </a:lnTo>
                  <a:lnTo>
                    <a:pt x="525" y="944"/>
                  </a:lnTo>
                  <a:lnTo>
                    <a:pt x="525" y="948"/>
                  </a:lnTo>
                  <a:lnTo>
                    <a:pt x="521" y="956"/>
                  </a:lnTo>
                  <a:lnTo>
                    <a:pt x="521" y="972"/>
                  </a:lnTo>
                  <a:lnTo>
                    <a:pt x="517" y="997"/>
                  </a:lnTo>
                  <a:lnTo>
                    <a:pt x="509" y="1021"/>
                  </a:lnTo>
                  <a:lnTo>
                    <a:pt x="509" y="1049"/>
                  </a:lnTo>
                  <a:lnTo>
                    <a:pt x="505" y="1057"/>
                  </a:lnTo>
                  <a:lnTo>
                    <a:pt x="496" y="1057"/>
                  </a:lnTo>
                  <a:lnTo>
                    <a:pt x="444" y="1065"/>
                  </a:lnTo>
                  <a:lnTo>
                    <a:pt x="420" y="1065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37" name="Freeform 45"/>
            <p:cNvSpPr>
              <a:spLocks/>
            </p:cNvSpPr>
            <p:nvPr/>
          </p:nvSpPr>
          <p:spPr bwMode="auto">
            <a:xfrm>
              <a:off x="1770146" y="2926711"/>
              <a:ext cx="706438" cy="929057"/>
            </a:xfrm>
            <a:custGeom>
              <a:avLst/>
              <a:gdLst>
                <a:gd name="T0" fmla="*/ 315853201 w 787"/>
                <a:gd name="T1" fmla="*/ 755437290 h 1045"/>
                <a:gd name="T2" fmla="*/ 289263494 w 787"/>
                <a:gd name="T3" fmla="*/ 737252392 h 1045"/>
                <a:gd name="T4" fmla="*/ 257033055 w 787"/>
                <a:gd name="T5" fmla="*/ 712248267 h 1045"/>
                <a:gd name="T6" fmla="*/ 207883062 w 787"/>
                <a:gd name="T7" fmla="*/ 681939525 h 1045"/>
                <a:gd name="T8" fmla="*/ 182098532 w 787"/>
                <a:gd name="T9" fmla="*/ 638750502 h 1045"/>
                <a:gd name="T10" fmla="*/ 165984210 w 787"/>
                <a:gd name="T11" fmla="*/ 599349747 h 1045"/>
                <a:gd name="T12" fmla="*/ 123279283 w 787"/>
                <a:gd name="T13" fmla="*/ 590256863 h 1045"/>
                <a:gd name="T14" fmla="*/ 136977175 w 787"/>
                <a:gd name="T15" fmla="*/ 553128892 h 1045"/>
                <a:gd name="T16" fmla="*/ 97495623 w 787"/>
                <a:gd name="T17" fmla="*/ 534943995 h 1045"/>
                <a:gd name="T18" fmla="*/ 71711093 w 787"/>
                <a:gd name="T19" fmla="*/ 507666214 h 1045"/>
                <a:gd name="T20" fmla="*/ 55596757 w 787"/>
                <a:gd name="T21" fmla="*/ 486450355 h 1045"/>
                <a:gd name="T22" fmla="*/ 81380404 w 787"/>
                <a:gd name="T23" fmla="*/ 471296419 h 1045"/>
                <a:gd name="T24" fmla="*/ 74934496 w 787"/>
                <a:gd name="T25" fmla="*/ 431137379 h 1045"/>
                <a:gd name="T26" fmla="*/ 33035630 w 787"/>
                <a:gd name="T27" fmla="*/ 415983443 h 1045"/>
                <a:gd name="T28" fmla="*/ 0 w 787"/>
                <a:gd name="T29" fmla="*/ 406890559 h 1045"/>
                <a:gd name="T30" fmla="*/ 12891820 w 787"/>
                <a:gd name="T31" fmla="*/ 363701537 h 1045"/>
                <a:gd name="T32" fmla="*/ 45927446 w 787"/>
                <a:gd name="T33" fmla="*/ 351577692 h 1045"/>
                <a:gd name="T34" fmla="*/ 49150849 w 787"/>
                <a:gd name="T35" fmla="*/ 321269820 h 1045"/>
                <a:gd name="T36" fmla="*/ 42704941 w 787"/>
                <a:gd name="T37" fmla="*/ 262925991 h 1045"/>
                <a:gd name="T38" fmla="*/ 33035630 w 787"/>
                <a:gd name="T39" fmla="*/ 226555271 h 1045"/>
                <a:gd name="T40" fmla="*/ 71711093 w 787"/>
                <a:gd name="T41" fmla="*/ 202308451 h 1045"/>
                <a:gd name="T42" fmla="*/ 116833347 w 787"/>
                <a:gd name="T43" fmla="*/ 162150390 h 1045"/>
                <a:gd name="T44" fmla="*/ 143423083 w 787"/>
                <a:gd name="T45" fmla="*/ 146995584 h 1045"/>
                <a:gd name="T46" fmla="*/ 153091496 w 787"/>
                <a:gd name="T47" fmla="*/ 122748764 h 1045"/>
                <a:gd name="T48" fmla="*/ 182098532 w 787"/>
                <a:gd name="T49" fmla="*/ 113656723 h 1045"/>
                <a:gd name="T50" fmla="*/ 224803459 w 787"/>
                <a:gd name="T51" fmla="*/ 103806534 h 1045"/>
                <a:gd name="T52" fmla="*/ 282817586 w 787"/>
                <a:gd name="T53" fmla="*/ 97744612 h 1045"/>
                <a:gd name="T54" fmla="*/ 315853201 w 787"/>
                <a:gd name="T55" fmla="*/ 67435869 h 1045"/>
                <a:gd name="T56" fmla="*/ 322299110 w 787"/>
                <a:gd name="T57" fmla="*/ 3030962 h 1045"/>
                <a:gd name="T58" fmla="*/ 419793807 w 787"/>
                <a:gd name="T59" fmla="*/ 0 h 1045"/>
                <a:gd name="T60" fmla="*/ 565634274 w 787"/>
                <a:gd name="T61" fmla="*/ 21215865 h 1045"/>
                <a:gd name="T62" fmla="*/ 581749493 w 787"/>
                <a:gd name="T63" fmla="*/ 88652598 h 1045"/>
                <a:gd name="T64" fmla="*/ 552742457 w 787"/>
                <a:gd name="T65" fmla="*/ 150026545 h 1045"/>
                <a:gd name="T66" fmla="*/ 543073146 w 787"/>
                <a:gd name="T67" fmla="*/ 202308451 h 1045"/>
                <a:gd name="T68" fmla="*/ 530181330 w 787"/>
                <a:gd name="T69" fmla="*/ 229586287 h 1045"/>
                <a:gd name="T70" fmla="*/ 539850641 w 787"/>
                <a:gd name="T71" fmla="*/ 306115013 h 1045"/>
                <a:gd name="T72" fmla="*/ 555965860 w 787"/>
                <a:gd name="T73" fmla="*/ 315207897 h 1045"/>
                <a:gd name="T74" fmla="*/ 568857677 w 787"/>
                <a:gd name="T75" fmla="*/ 379612778 h 1045"/>
                <a:gd name="T76" fmla="*/ 584971998 w 787"/>
                <a:gd name="T77" fmla="*/ 412952482 h 1045"/>
                <a:gd name="T78" fmla="*/ 605115798 w 787"/>
                <a:gd name="T79" fmla="*/ 446291315 h 1045"/>
                <a:gd name="T80" fmla="*/ 621231017 w 787"/>
                <a:gd name="T81" fmla="*/ 477358342 h 1045"/>
                <a:gd name="T82" fmla="*/ 634122833 w 787"/>
                <a:gd name="T83" fmla="*/ 507666214 h 1045"/>
                <a:gd name="T84" fmla="*/ 601893292 w 787"/>
                <a:gd name="T85" fmla="*/ 510697175 h 1045"/>
                <a:gd name="T86" fmla="*/ 530181330 w 787"/>
                <a:gd name="T87" fmla="*/ 483419394 h 1045"/>
                <a:gd name="T88" fmla="*/ 477807990 w 787"/>
                <a:gd name="T89" fmla="*/ 513728137 h 1045"/>
                <a:gd name="T90" fmla="*/ 464916061 w 787"/>
                <a:gd name="T91" fmla="*/ 525851111 h 1045"/>
                <a:gd name="T92" fmla="*/ 429463118 w 787"/>
                <a:gd name="T93" fmla="*/ 544036879 h 1045"/>
                <a:gd name="T94" fmla="*/ 442354934 w 787"/>
                <a:gd name="T95" fmla="*/ 581163979 h 1045"/>
                <a:gd name="T96" fmla="*/ 435909026 w 787"/>
                <a:gd name="T97" fmla="*/ 605410799 h 1045"/>
                <a:gd name="T98" fmla="*/ 406096813 w 787"/>
                <a:gd name="T99" fmla="*/ 632688580 h 1045"/>
                <a:gd name="T100" fmla="*/ 432686521 w 787"/>
                <a:gd name="T101" fmla="*/ 657692705 h 1045"/>
                <a:gd name="T102" fmla="*/ 448800842 w 787"/>
                <a:gd name="T103" fmla="*/ 681939525 h 1045"/>
                <a:gd name="T104" fmla="*/ 439132429 w 787"/>
                <a:gd name="T105" fmla="*/ 721340281 h 1045"/>
                <a:gd name="T106" fmla="*/ 389981594 w 787"/>
                <a:gd name="T107" fmla="*/ 737252392 h 1045"/>
                <a:gd name="T108" fmla="*/ 348082742 w 787"/>
                <a:gd name="T109" fmla="*/ 764530173 h 1045"/>
                <a:gd name="T110" fmla="*/ 325521615 w 787"/>
                <a:gd name="T111" fmla="*/ 791807955 h 104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87"/>
                <a:gd name="T169" fmla="*/ 0 h 1045"/>
                <a:gd name="T170" fmla="*/ 787 w 787"/>
                <a:gd name="T171" fmla="*/ 1045 h 104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87" h="1045">
                  <a:moveTo>
                    <a:pt x="396" y="1045"/>
                  </a:moveTo>
                  <a:lnTo>
                    <a:pt x="396" y="1021"/>
                  </a:lnTo>
                  <a:lnTo>
                    <a:pt x="396" y="1001"/>
                  </a:lnTo>
                  <a:lnTo>
                    <a:pt x="392" y="997"/>
                  </a:lnTo>
                  <a:lnTo>
                    <a:pt x="387" y="989"/>
                  </a:lnTo>
                  <a:lnTo>
                    <a:pt x="375" y="981"/>
                  </a:lnTo>
                  <a:lnTo>
                    <a:pt x="363" y="977"/>
                  </a:lnTo>
                  <a:lnTo>
                    <a:pt x="359" y="973"/>
                  </a:lnTo>
                  <a:lnTo>
                    <a:pt x="343" y="973"/>
                  </a:lnTo>
                  <a:lnTo>
                    <a:pt x="335" y="964"/>
                  </a:lnTo>
                  <a:lnTo>
                    <a:pt x="327" y="952"/>
                  </a:lnTo>
                  <a:lnTo>
                    <a:pt x="319" y="940"/>
                  </a:lnTo>
                  <a:lnTo>
                    <a:pt x="311" y="928"/>
                  </a:lnTo>
                  <a:lnTo>
                    <a:pt x="283" y="912"/>
                  </a:lnTo>
                  <a:lnTo>
                    <a:pt x="262" y="904"/>
                  </a:lnTo>
                  <a:lnTo>
                    <a:pt x="258" y="900"/>
                  </a:lnTo>
                  <a:lnTo>
                    <a:pt x="254" y="896"/>
                  </a:lnTo>
                  <a:lnTo>
                    <a:pt x="242" y="892"/>
                  </a:lnTo>
                  <a:lnTo>
                    <a:pt x="226" y="888"/>
                  </a:lnTo>
                  <a:lnTo>
                    <a:pt x="226" y="843"/>
                  </a:lnTo>
                  <a:lnTo>
                    <a:pt x="226" y="799"/>
                  </a:lnTo>
                  <a:lnTo>
                    <a:pt x="222" y="795"/>
                  </a:lnTo>
                  <a:lnTo>
                    <a:pt x="218" y="791"/>
                  </a:lnTo>
                  <a:lnTo>
                    <a:pt x="206" y="791"/>
                  </a:lnTo>
                  <a:lnTo>
                    <a:pt x="194" y="783"/>
                  </a:lnTo>
                  <a:lnTo>
                    <a:pt x="170" y="783"/>
                  </a:lnTo>
                  <a:lnTo>
                    <a:pt x="145" y="783"/>
                  </a:lnTo>
                  <a:lnTo>
                    <a:pt x="153" y="779"/>
                  </a:lnTo>
                  <a:lnTo>
                    <a:pt x="153" y="763"/>
                  </a:lnTo>
                  <a:lnTo>
                    <a:pt x="158" y="755"/>
                  </a:lnTo>
                  <a:lnTo>
                    <a:pt x="170" y="747"/>
                  </a:lnTo>
                  <a:lnTo>
                    <a:pt x="170" y="730"/>
                  </a:lnTo>
                  <a:lnTo>
                    <a:pt x="170" y="718"/>
                  </a:lnTo>
                  <a:lnTo>
                    <a:pt x="166" y="714"/>
                  </a:lnTo>
                  <a:lnTo>
                    <a:pt x="145" y="710"/>
                  </a:lnTo>
                  <a:lnTo>
                    <a:pt x="121" y="706"/>
                  </a:lnTo>
                  <a:lnTo>
                    <a:pt x="113" y="698"/>
                  </a:lnTo>
                  <a:lnTo>
                    <a:pt x="101" y="694"/>
                  </a:lnTo>
                  <a:lnTo>
                    <a:pt x="93" y="682"/>
                  </a:lnTo>
                  <a:lnTo>
                    <a:pt x="89" y="670"/>
                  </a:lnTo>
                  <a:lnTo>
                    <a:pt x="81" y="670"/>
                  </a:lnTo>
                  <a:lnTo>
                    <a:pt x="77" y="658"/>
                  </a:lnTo>
                  <a:lnTo>
                    <a:pt x="69" y="650"/>
                  </a:lnTo>
                  <a:lnTo>
                    <a:pt x="69" y="642"/>
                  </a:lnTo>
                  <a:lnTo>
                    <a:pt x="69" y="630"/>
                  </a:lnTo>
                  <a:lnTo>
                    <a:pt x="81" y="622"/>
                  </a:lnTo>
                  <a:lnTo>
                    <a:pt x="93" y="622"/>
                  </a:lnTo>
                  <a:lnTo>
                    <a:pt x="101" y="622"/>
                  </a:lnTo>
                  <a:lnTo>
                    <a:pt x="101" y="613"/>
                  </a:lnTo>
                  <a:lnTo>
                    <a:pt x="101" y="601"/>
                  </a:lnTo>
                  <a:lnTo>
                    <a:pt x="101" y="589"/>
                  </a:lnTo>
                  <a:lnTo>
                    <a:pt x="93" y="569"/>
                  </a:lnTo>
                  <a:lnTo>
                    <a:pt x="89" y="553"/>
                  </a:lnTo>
                  <a:lnTo>
                    <a:pt x="65" y="553"/>
                  </a:lnTo>
                  <a:lnTo>
                    <a:pt x="41" y="553"/>
                  </a:lnTo>
                  <a:lnTo>
                    <a:pt x="41" y="549"/>
                  </a:lnTo>
                  <a:lnTo>
                    <a:pt x="37" y="549"/>
                  </a:lnTo>
                  <a:lnTo>
                    <a:pt x="16" y="549"/>
                  </a:lnTo>
                  <a:lnTo>
                    <a:pt x="0" y="549"/>
                  </a:lnTo>
                  <a:lnTo>
                    <a:pt x="0" y="537"/>
                  </a:lnTo>
                  <a:lnTo>
                    <a:pt x="0" y="521"/>
                  </a:lnTo>
                  <a:lnTo>
                    <a:pt x="4" y="517"/>
                  </a:lnTo>
                  <a:lnTo>
                    <a:pt x="12" y="488"/>
                  </a:lnTo>
                  <a:lnTo>
                    <a:pt x="16" y="480"/>
                  </a:lnTo>
                  <a:lnTo>
                    <a:pt x="24" y="468"/>
                  </a:lnTo>
                  <a:lnTo>
                    <a:pt x="41" y="468"/>
                  </a:lnTo>
                  <a:lnTo>
                    <a:pt x="53" y="468"/>
                  </a:lnTo>
                  <a:lnTo>
                    <a:pt x="57" y="464"/>
                  </a:lnTo>
                  <a:lnTo>
                    <a:pt x="61" y="460"/>
                  </a:lnTo>
                  <a:lnTo>
                    <a:pt x="65" y="448"/>
                  </a:lnTo>
                  <a:lnTo>
                    <a:pt x="69" y="428"/>
                  </a:lnTo>
                  <a:lnTo>
                    <a:pt x="61" y="424"/>
                  </a:lnTo>
                  <a:lnTo>
                    <a:pt x="45" y="412"/>
                  </a:lnTo>
                  <a:lnTo>
                    <a:pt x="45" y="388"/>
                  </a:lnTo>
                  <a:lnTo>
                    <a:pt x="45" y="367"/>
                  </a:lnTo>
                  <a:lnTo>
                    <a:pt x="53" y="347"/>
                  </a:lnTo>
                  <a:lnTo>
                    <a:pt x="53" y="335"/>
                  </a:lnTo>
                  <a:lnTo>
                    <a:pt x="45" y="319"/>
                  </a:lnTo>
                  <a:lnTo>
                    <a:pt x="41" y="307"/>
                  </a:lnTo>
                  <a:lnTo>
                    <a:pt x="41" y="299"/>
                  </a:lnTo>
                  <a:lnTo>
                    <a:pt x="41" y="287"/>
                  </a:lnTo>
                  <a:lnTo>
                    <a:pt x="45" y="283"/>
                  </a:lnTo>
                  <a:lnTo>
                    <a:pt x="53" y="271"/>
                  </a:lnTo>
                  <a:lnTo>
                    <a:pt x="89" y="267"/>
                  </a:lnTo>
                  <a:lnTo>
                    <a:pt x="93" y="267"/>
                  </a:lnTo>
                  <a:lnTo>
                    <a:pt x="117" y="250"/>
                  </a:lnTo>
                  <a:lnTo>
                    <a:pt x="141" y="230"/>
                  </a:lnTo>
                  <a:lnTo>
                    <a:pt x="145" y="214"/>
                  </a:lnTo>
                  <a:lnTo>
                    <a:pt x="153" y="198"/>
                  </a:lnTo>
                  <a:lnTo>
                    <a:pt x="158" y="194"/>
                  </a:lnTo>
                  <a:lnTo>
                    <a:pt x="170" y="194"/>
                  </a:lnTo>
                  <a:lnTo>
                    <a:pt x="178" y="194"/>
                  </a:lnTo>
                  <a:lnTo>
                    <a:pt x="178" y="186"/>
                  </a:lnTo>
                  <a:lnTo>
                    <a:pt x="186" y="170"/>
                  </a:lnTo>
                  <a:lnTo>
                    <a:pt x="186" y="166"/>
                  </a:lnTo>
                  <a:lnTo>
                    <a:pt x="190" y="162"/>
                  </a:lnTo>
                  <a:lnTo>
                    <a:pt x="202" y="162"/>
                  </a:lnTo>
                  <a:lnTo>
                    <a:pt x="210" y="158"/>
                  </a:lnTo>
                  <a:lnTo>
                    <a:pt x="222" y="154"/>
                  </a:lnTo>
                  <a:lnTo>
                    <a:pt x="226" y="150"/>
                  </a:lnTo>
                  <a:lnTo>
                    <a:pt x="230" y="137"/>
                  </a:lnTo>
                  <a:lnTo>
                    <a:pt x="234" y="129"/>
                  </a:lnTo>
                  <a:lnTo>
                    <a:pt x="250" y="137"/>
                  </a:lnTo>
                  <a:lnTo>
                    <a:pt x="279" y="137"/>
                  </a:lnTo>
                  <a:lnTo>
                    <a:pt x="311" y="137"/>
                  </a:lnTo>
                  <a:lnTo>
                    <a:pt x="339" y="137"/>
                  </a:lnTo>
                  <a:lnTo>
                    <a:pt x="343" y="137"/>
                  </a:lnTo>
                  <a:lnTo>
                    <a:pt x="351" y="129"/>
                  </a:lnTo>
                  <a:lnTo>
                    <a:pt x="359" y="121"/>
                  </a:lnTo>
                  <a:lnTo>
                    <a:pt x="363" y="109"/>
                  </a:lnTo>
                  <a:lnTo>
                    <a:pt x="383" y="101"/>
                  </a:lnTo>
                  <a:lnTo>
                    <a:pt x="392" y="89"/>
                  </a:lnTo>
                  <a:lnTo>
                    <a:pt x="392" y="49"/>
                  </a:lnTo>
                  <a:lnTo>
                    <a:pt x="392" y="8"/>
                  </a:lnTo>
                  <a:lnTo>
                    <a:pt x="396" y="4"/>
                  </a:lnTo>
                  <a:lnTo>
                    <a:pt x="400" y="4"/>
                  </a:lnTo>
                  <a:lnTo>
                    <a:pt x="432" y="4"/>
                  </a:lnTo>
                  <a:lnTo>
                    <a:pt x="468" y="8"/>
                  </a:lnTo>
                  <a:lnTo>
                    <a:pt x="492" y="4"/>
                  </a:lnTo>
                  <a:lnTo>
                    <a:pt x="521" y="0"/>
                  </a:lnTo>
                  <a:lnTo>
                    <a:pt x="581" y="0"/>
                  </a:lnTo>
                  <a:lnTo>
                    <a:pt x="642" y="4"/>
                  </a:lnTo>
                  <a:lnTo>
                    <a:pt x="674" y="12"/>
                  </a:lnTo>
                  <a:lnTo>
                    <a:pt x="702" y="28"/>
                  </a:lnTo>
                  <a:lnTo>
                    <a:pt x="710" y="41"/>
                  </a:lnTo>
                  <a:lnTo>
                    <a:pt x="726" y="53"/>
                  </a:lnTo>
                  <a:lnTo>
                    <a:pt x="726" y="85"/>
                  </a:lnTo>
                  <a:lnTo>
                    <a:pt x="722" y="117"/>
                  </a:lnTo>
                  <a:lnTo>
                    <a:pt x="710" y="150"/>
                  </a:lnTo>
                  <a:lnTo>
                    <a:pt x="702" y="174"/>
                  </a:lnTo>
                  <a:lnTo>
                    <a:pt x="694" y="190"/>
                  </a:lnTo>
                  <a:lnTo>
                    <a:pt x="686" y="198"/>
                  </a:lnTo>
                  <a:lnTo>
                    <a:pt x="686" y="222"/>
                  </a:lnTo>
                  <a:lnTo>
                    <a:pt x="686" y="254"/>
                  </a:lnTo>
                  <a:lnTo>
                    <a:pt x="682" y="258"/>
                  </a:lnTo>
                  <a:lnTo>
                    <a:pt x="674" y="267"/>
                  </a:lnTo>
                  <a:lnTo>
                    <a:pt x="674" y="271"/>
                  </a:lnTo>
                  <a:lnTo>
                    <a:pt x="670" y="279"/>
                  </a:lnTo>
                  <a:lnTo>
                    <a:pt x="662" y="291"/>
                  </a:lnTo>
                  <a:lnTo>
                    <a:pt x="658" y="303"/>
                  </a:lnTo>
                  <a:lnTo>
                    <a:pt x="658" y="327"/>
                  </a:lnTo>
                  <a:lnTo>
                    <a:pt x="658" y="343"/>
                  </a:lnTo>
                  <a:lnTo>
                    <a:pt x="662" y="375"/>
                  </a:lnTo>
                  <a:lnTo>
                    <a:pt x="670" y="404"/>
                  </a:lnTo>
                  <a:lnTo>
                    <a:pt x="674" y="412"/>
                  </a:lnTo>
                  <a:lnTo>
                    <a:pt x="686" y="412"/>
                  </a:lnTo>
                  <a:lnTo>
                    <a:pt x="690" y="416"/>
                  </a:lnTo>
                  <a:lnTo>
                    <a:pt x="694" y="432"/>
                  </a:lnTo>
                  <a:lnTo>
                    <a:pt x="702" y="452"/>
                  </a:lnTo>
                  <a:lnTo>
                    <a:pt x="702" y="472"/>
                  </a:lnTo>
                  <a:lnTo>
                    <a:pt x="706" y="501"/>
                  </a:lnTo>
                  <a:lnTo>
                    <a:pt x="710" y="505"/>
                  </a:lnTo>
                  <a:lnTo>
                    <a:pt x="718" y="513"/>
                  </a:lnTo>
                  <a:lnTo>
                    <a:pt x="722" y="533"/>
                  </a:lnTo>
                  <a:lnTo>
                    <a:pt x="726" y="545"/>
                  </a:lnTo>
                  <a:lnTo>
                    <a:pt x="738" y="553"/>
                  </a:lnTo>
                  <a:lnTo>
                    <a:pt x="747" y="565"/>
                  </a:lnTo>
                  <a:lnTo>
                    <a:pt x="747" y="573"/>
                  </a:lnTo>
                  <a:lnTo>
                    <a:pt x="751" y="589"/>
                  </a:lnTo>
                  <a:lnTo>
                    <a:pt x="759" y="597"/>
                  </a:lnTo>
                  <a:lnTo>
                    <a:pt x="767" y="609"/>
                  </a:lnTo>
                  <a:lnTo>
                    <a:pt x="771" y="622"/>
                  </a:lnTo>
                  <a:lnTo>
                    <a:pt x="771" y="630"/>
                  </a:lnTo>
                  <a:lnTo>
                    <a:pt x="771" y="634"/>
                  </a:lnTo>
                  <a:lnTo>
                    <a:pt x="783" y="642"/>
                  </a:lnTo>
                  <a:lnTo>
                    <a:pt x="787" y="658"/>
                  </a:lnTo>
                  <a:lnTo>
                    <a:pt x="787" y="670"/>
                  </a:lnTo>
                  <a:lnTo>
                    <a:pt x="787" y="674"/>
                  </a:lnTo>
                  <a:lnTo>
                    <a:pt x="779" y="674"/>
                  </a:lnTo>
                  <a:lnTo>
                    <a:pt x="767" y="674"/>
                  </a:lnTo>
                  <a:lnTo>
                    <a:pt x="747" y="674"/>
                  </a:lnTo>
                  <a:lnTo>
                    <a:pt x="698" y="650"/>
                  </a:lnTo>
                  <a:lnTo>
                    <a:pt x="686" y="642"/>
                  </a:lnTo>
                  <a:lnTo>
                    <a:pt x="666" y="638"/>
                  </a:lnTo>
                  <a:lnTo>
                    <a:pt x="658" y="638"/>
                  </a:lnTo>
                  <a:lnTo>
                    <a:pt x="634" y="638"/>
                  </a:lnTo>
                  <a:lnTo>
                    <a:pt x="601" y="638"/>
                  </a:lnTo>
                  <a:lnTo>
                    <a:pt x="597" y="642"/>
                  </a:lnTo>
                  <a:lnTo>
                    <a:pt x="593" y="678"/>
                  </a:lnTo>
                  <a:lnTo>
                    <a:pt x="589" y="694"/>
                  </a:lnTo>
                  <a:lnTo>
                    <a:pt x="581" y="694"/>
                  </a:lnTo>
                  <a:lnTo>
                    <a:pt x="577" y="694"/>
                  </a:lnTo>
                  <a:lnTo>
                    <a:pt x="573" y="694"/>
                  </a:lnTo>
                  <a:lnTo>
                    <a:pt x="553" y="698"/>
                  </a:lnTo>
                  <a:lnTo>
                    <a:pt x="537" y="710"/>
                  </a:lnTo>
                  <a:lnTo>
                    <a:pt x="533" y="718"/>
                  </a:lnTo>
                  <a:lnTo>
                    <a:pt x="525" y="722"/>
                  </a:lnTo>
                  <a:lnTo>
                    <a:pt x="525" y="743"/>
                  </a:lnTo>
                  <a:lnTo>
                    <a:pt x="537" y="759"/>
                  </a:lnTo>
                  <a:lnTo>
                    <a:pt x="549" y="767"/>
                  </a:lnTo>
                  <a:lnTo>
                    <a:pt x="565" y="771"/>
                  </a:lnTo>
                  <a:lnTo>
                    <a:pt x="565" y="783"/>
                  </a:lnTo>
                  <a:lnTo>
                    <a:pt x="565" y="799"/>
                  </a:lnTo>
                  <a:lnTo>
                    <a:pt x="541" y="799"/>
                  </a:lnTo>
                  <a:lnTo>
                    <a:pt x="517" y="803"/>
                  </a:lnTo>
                  <a:lnTo>
                    <a:pt x="517" y="807"/>
                  </a:lnTo>
                  <a:lnTo>
                    <a:pt x="513" y="811"/>
                  </a:lnTo>
                  <a:lnTo>
                    <a:pt x="504" y="835"/>
                  </a:lnTo>
                  <a:lnTo>
                    <a:pt x="504" y="852"/>
                  </a:lnTo>
                  <a:lnTo>
                    <a:pt x="513" y="856"/>
                  </a:lnTo>
                  <a:lnTo>
                    <a:pt x="517" y="864"/>
                  </a:lnTo>
                  <a:lnTo>
                    <a:pt x="537" y="868"/>
                  </a:lnTo>
                  <a:lnTo>
                    <a:pt x="553" y="868"/>
                  </a:lnTo>
                  <a:lnTo>
                    <a:pt x="557" y="872"/>
                  </a:lnTo>
                  <a:lnTo>
                    <a:pt x="557" y="880"/>
                  </a:lnTo>
                  <a:lnTo>
                    <a:pt x="557" y="900"/>
                  </a:lnTo>
                  <a:lnTo>
                    <a:pt x="557" y="924"/>
                  </a:lnTo>
                  <a:lnTo>
                    <a:pt x="557" y="936"/>
                  </a:lnTo>
                  <a:lnTo>
                    <a:pt x="553" y="944"/>
                  </a:lnTo>
                  <a:lnTo>
                    <a:pt x="545" y="952"/>
                  </a:lnTo>
                  <a:lnTo>
                    <a:pt x="537" y="964"/>
                  </a:lnTo>
                  <a:lnTo>
                    <a:pt x="521" y="964"/>
                  </a:lnTo>
                  <a:lnTo>
                    <a:pt x="504" y="973"/>
                  </a:lnTo>
                  <a:lnTo>
                    <a:pt x="484" y="973"/>
                  </a:lnTo>
                  <a:lnTo>
                    <a:pt x="460" y="973"/>
                  </a:lnTo>
                  <a:lnTo>
                    <a:pt x="448" y="989"/>
                  </a:lnTo>
                  <a:lnTo>
                    <a:pt x="436" y="997"/>
                  </a:lnTo>
                  <a:lnTo>
                    <a:pt x="432" y="1009"/>
                  </a:lnTo>
                  <a:lnTo>
                    <a:pt x="428" y="1021"/>
                  </a:lnTo>
                  <a:lnTo>
                    <a:pt x="416" y="1033"/>
                  </a:lnTo>
                  <a:lnTo>
                    <a:pt x="408" y="1037"/>
                  </a:lnTo>
                  <a:lnTo>
                    <a:pt x="404" y="1045"/>
                  </a:lnTo>
                  <a:lnTo>
                    <a:pt x="396" y="10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00" b="1">
                <a:latin typeface="+mn-lt"/>
                <a:cs typeface="+mn-cs"/>
              </a:endParaRPr>
            </a:p>
          </p:txBody>
        </p:sp>
        <p:sp>
          <p:nvSpPr>
            <p:cNvPr id="138" name="Freeform 46"/>
            <p:cNvSpPr>
              <a:spLocks/>
            </p:cNvSpPr>
            <p:nvPr/>
          </p:nvSpPr>
          <p:spPr bwMode="auto">
            <a:xfrm>
              <a:off x="3425909" y="2894284"/>
              <a:ext cx="1301750" cy="878794"/>
            </a:xfrm>
            <a:custGeom>
              <a:avLst/>
              <a:gdLst>
                <a:gd name="T0" fmla="*/ 2147483647 w 1448"/>
                <a:gd name="T1" fmla="*/ 2147483647 h 988"/>
                <a:gd name="T2" fmla="*/ 2147483647 w 1448"/>
                <a:gd name="T3" fmla="*/ 2147483647 h 988"/>
                <a:gd name="T4" fmla="*/ 2147483647 w 1448"/>
                <a:gd name="T5" fmla="*/ 2147483647 h 988"/>
                <a:gd name="T6" fmla="*/ 2147483647 w 1448"/>
                <a:gd name="T7" fmla="*/ 2147483647 h 988"/>
                <a:gd name="T8" fmla="*/ 2147483647 w 1448"/>
                <a:gd name="T9" fmla="*/ 2147483647 h 988"/>
                <a:gd name="T10" fmla="*/ 2147483647 w 1448"/>
                <a:gd name="T11" fmla="*/ 2147483647 h 988"/>
                <a:gd name="T12" fmla="*/ 2147483647 w 1448"/>
                <a:gd name="T13" fmla="*/ 2147483647 h 988"/>
                <a:gd name="T14" fmla="*/ 2147483647 w 1448"/>
                <a:gd name="T15" fmla="*/ 2147483647 h 988"/>
                <a:gd name="T16" fmla="*/ 2147483647 w 1448"/>
                <a:gd name="T17" fmla="*/ 2147483647 h 988"/>
                <a:gd name="T18" fmla="*/ 2147483647 w 1448"/>
                <a:gd name="T19" fmla="*/ 2147483647 h 988"/>
                <a:gd name="T20" fmla="*/ 2147483647 w 1448"/>
                <a:gd name="T21" fmla="*/ 2147483647 h 988"/>
                <a:gd name="T22" fmla="*/ 2147483647 w 1448"/>
                <a:gd name="T23" fmla="*/ 2147483647 h 988"/>
                <a:gd name="T24" fmla="*/ 2147483647 w 1448"/>
                <a:gd name="T25" fmla="*/ 2147483647 h 988"/>
                <a:gd name="T26" fmla="*/ 2147483647 w 1448"/>
                <a:gd name="T27" fmla="*/ 2147483647 h 988"/>
                <a:gd name="T28" fmla="*/ 2147483647 w 1448"/>
                <a:gd name="T29" fmla="*/ 2147483647 h 988"/>
                <a:gd name="T30" fmla="*/ 2147483647 w 1448"/>
                <a:gd name="T31" fmla="*/ 2147483647 h 988"/>
                <a:gd name="T32" fmla="*/ 2147483647 w 1448"/>
                <a:gd name="T33" fmla="*/ 2147483647 h 988"/>
                <a:gd name="T34" fmla="*/ 2147483647 w 1448"/>
                <a:gd name="T35" fmla="*/ 2147483647 h 988"/>
                <a:gd name="T36" fmla="*/ 2147483647 w 1448"/>
                <a:gd name="T37" fmla="*/ 2147483647 h 988"/>
                <a:gd name="T38" fmla="*/ 2147483647 w 1448"/>
                <a:gd name="T39" fmla="*/ 2147483647 h 988"/>
                <a:gd name="T40" fmla="*/ 2147483647 w 1448"/>
                <a:gd name="T41" fmla="*/ 2147483647 h 988"/>
                <a:gd name="T42" fmla="*/ 2147483647 w 1448"/>
                <a:gd name="T43" fmla="*/ 2147483647 h 988"/>
                <a:gd name="T44" fmla="*/ 2147483647 w 1448"/>
                <a:gd name="T45" fmla="*/ 2147483647 h 988"/>
                <a:gd name="T46" fmla="*/ 2147483647 w 1448"/>
                <a:gd name="T47" fmla="*/ 2147483647 h 988"/>
                <a:gd name="T48" fmla="*/ 2147483647 w 1448"/>
                <a:gd name="T49" fmla="*/ 2147483647 h 988"/>
                <a:gd name="T50" fmla="*/ 2147483647 w 1448"/>
                <a:gd name="T51" fmla="*/ 2147483647 h 988"/>
                <a:gd name="T52" fmla="*/ 2147483647 w 1448"/>
                <a:gd name="T53" fmla="*/ 2147483647 h 988"/>
                <a:gd name="T54" fmla="*/ 2147483647 w 1448"/>
                <a:gd name="T55" fmla="*/ 2147483647 h 988"/>
                <a:gd name="T56" fmla="*/ 2147483647 w 1448"/>
                <a:gd name="T57" fmla="*/ 2147483647 h 988"/>
                <a:gd name="T58" fmla="*/ 2147483647 w 1448"/>
                <a:gd name="T59" fmla="*/ 2147483647 h 988"/>
                <a:gd name="T60" fmla="*/ 2147483647 w 1448"/>
                <a:gd name="T61" fmla="*/ 2147483647 h 988"/>
                <a:gd name="T62" fmla="*/ 2147483647 w 1448"/>
                <a:gd name="T63" fmla="*/ 2147483647 h 988"/>
                <a:gd name="T64" fmla="*/ 2147483647 w 1448"/>
                <a:gd name="T65" fmla="*/ 2147483647 h 988"/>
                <a:gd name="T66" fmla="*/ 2147483647 w 1448"/>
                <a:gd name="T67" fmla="*/ 2147483647 h 988"/>
                <a:gd name="T68" fmla="*/ 2147483647 w 1448"/>
                <a:gd name="T69" fmla="*/ 2147483647 h 988"/>
                <a:gd name="T70" fmla="*/ 2147483647 w 1448"/>
                <a:gd name="T71" fmla="*/ 2147483647 h 988"/>
                <a:gd name="T72" fmla="*/ 2147483647 w 1448"/>
                <a:gd name="T73" fmla="*/ 2147483647 h 988"/>
                <a:gd name="T74" fmla="*/ 2147483647 w 1448"/>
                <a:gd name="T75" fmla="*/ 2147483647 h 988"/>
                <a:gd name="T76" fmla="*/ 2147483647 w 1448"/>
                <a:gd name="T77" fmla="*/ 2147483647 h 988"/>
                <a:gd name="T78" fmla="*/ 2147483647 w 1448"/>
                <a:gd name="T79" fmla="*/ 2147483647 h 988"/>
                <a:gd name="T80" fmla="*/ 2147483647 w 1448"/>
                <a:gd name="T81" fmla="*/ 2147483647 h 988"/>
                <a:gd name="T82" fmla="*/ 2147483647 w 1448"/>
                <a:gd name="T83" fmla="*/ 2147483647 h 988"/>
                <a:gd name="T84" fmla="*/ 2147483647 w 1448"/>
                <a:gd name="T85" fmla="*/ 2147483647 h 988"/>
                <a:gd name="T86" fmla="*/ 2147483647 w 1448"/>
                <a:gd name="T87" fmla="*/ 2147483647 h 988"/>
                <a:gd name="T88" fmla="*/ 2147483647 w 1448"/>
                <a:gd name="T89" fmla="*/ 2147483647 h 988"/>
                <a:gd name="T90" fmla="*/ 2147483647 w 1448"/>
                <a:gd name="T91" fmla="*/ 2147483647 h 988"/>
                <a:gd name="T92" fmla="*/ 2147483647 w 1448"/>
                <a:gd name="T93" fmla="*/ 2147483647 h 988"/>
                <a:gd name="T94" fmla="*/ 2147483647 w 1448"/>
                <a:gd name="T95" fmla="*/ 2147483647 h 988"/>
                <a:gd name="T96" fmla="*/ 2147483647 w 1448"/>
                <a:gd name="T97" fmla="*/ 2147483647 h 988"/>
                <a:gd name="T98" fmla="*/ 2147483647 w 1448"/>
                <a:gd name="T99" fmla="*/ 2147483647 h 988"/>
                <a:gd name="T100" fmla="*/ 2147483647 w 1448"/>
                <a:gd name="T101" fmla="*/ 2147483647 h 988"/>
                <a:gd name="T102" fmla="*/ 2147483647 w 1448"/>
                <a:gd name="T103" fmla="*/ 2147483647 h 988"/>
                <a:gd name="T104" fmla="*/ 2147483647 w 1448"/>
                <a:gd name="T105" fmla="*/ 2147483647 h 988"/>
                <a:gd name="T106" fmla="*/ 2147483647 w 1448"/>
                <a:gd name="T107" fmla="*/ 2147483647 h 988"/>
                <a:gd name="T108" fmla="*/ 2147483647 w 1448"/>
                <a:gd name="T109" fmla="*/ 2147483647 h 98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448"/>
                <a:gd name="T166" fmla="*/ 0 h 988"/>
                <a:gd name="T167" fmla="*/ 1448 w 1448"/>
                <a:gd name="T168" fmla="*/ 988 h 98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448" h="988">
                  <a:moveTo>
                    <a:pt x="206" y="988"/>
                  </a:moveTo>
                  <a:lnTo>
                    <a:pt x="206" y="976"/>
                  </a:lnTo>
                  <a:lnTo>
                    <a:pt x="202" y="904"/>
                  </a:lnTo>
                  <a:lnTo>
                    <a:pt x="197" y="904"/>
                  </a:lnTo>
                  <a:lnTo>
                    <a:pt x="185" y="892"/>
                  </a:lnTo>
                  <a:lnTo>
                    <a:pt x="185" y="888"/>
                  </a:lnTo>
                  <a:lnTo>
                    <a:pt x="185" y="879"/>
                  </a:lnTo>
                  <a:lnTo>
                    <a:pt x="181" y="875"/>
                  </a:lnTo>
                  <a:lnTo>
                    <a:pt x="177" y="871"/>
                  </a:lnTo>
                  <a:lnTo>
                    <a:pt x="177" y="851"/>
                  </a:lnTo>
                  <a:lnTo>
                    <a:pt x="169" y="839"/>
                  </a:lnTo>
                  <a:lnTo>
                    <a:pt x="165" y="835"/>
                  </a:lnTo>
                  <a:lnTo>
                    <a:pt x="161" y="819"/>
                  </a:lnTo>
                  <a:lnTo>
                    <a:pt x="161" y="779"/>
                  </a:lnTo>
                  <a:lnTo>
                    <a:pt x="177" y="779"/>
                  </a:lnTo>
                  <a:lnTo>
                    <a:pt x="193" y="779"/>
                  </a:lnTo>
                  <a:lnTo>
                    <a:pt x="197" y="775"/>
                  </a:lnTo>
                  <a:lnTo>
                    <a:pt x="202" y="771"/>
                  </a:lnTo>
                  <a:lnTo>
                    <a:pt x="202" y="758"/>
                  </a:lnTo>
                  <a:lnTo>
                    <a:pt x="206" y="746"/>
                  </a:lnTo>
                  <a:lnTo>
                    <a:pt x="206" y="742"/>
                  </a:lnTo>
                  <a:lnTo>
                    <a:pt x="210" y="742"/>
                  </a:lnTo>
                  <a:lnTo>
                    <a:pt x="210" y="730"/>
                  </a:lnTo>
                  <a:lnTo>
                    <a:pt x="206" y="710"/>
                  </a:lnTo>
                  <a:lnTo>
                    <a:pt x="197" y="710"/>
                  </a:lnTo>
                  <a:lnTo>
                    <a:pt x="185" y="710"/>
                  </a:lnTo>
                  <a:lnTo>
                    <a:pt x="185" y="706"/>
                  </a:lnTo>
                  <a:lnTo>
                    <a:pt x="185" y="698"/>
                  </a:lnTo>
                  <a:lnTo>
                    <a:pt x="177" y="698"/>
                  </a:lnTo>
                  <a:lnTo>
                    <a:pt x="161" y="698"/>
                  </a:lnTo>
                  <a:lnTo>
                    <a:pt x="161" y="682"/>
                  </a:lnTo>
                  <a:lnTo>
                    <a:pt x="161" y="662"/>
                  </a:lnTo>
                  <a:lnTo>
                    <a:pt x="165" y="658"/>
                  </a:lnTo>
                  <a:lnTo>
                    <a:pt x="165" y="645"/>
                  </a:lnTo>
                  <a:lnTo>
                    <a:pt x="165" y="637"/>
                  </a:lnTo>
                  <a:lnTo>
                    <a:pt x="161" y="629"/>
                  </a:lnTo>
                  <a:lnTo>
                    <a:pt x="153" y="621"/>
                  </a:lnTo>
                  <a:lnTo>
                    <a:pt x="153" y="609"/>
                  </a:lnTo>
                  <a:lnTo>
                    <a:pt x="153" y="605"/>
                  </a:lnTo>
                  <a:lnTo>
                    <a:pt x="149" y="597"/>
                  </a:lnTo>
                  <a:lnTo>
                    <a:pt x="145" y="593"/>
                  </a:lnTo>
                  <a:lnTo>
                    <a:pt x="141" y="577"/>
                  </a:lnTo>
                  <a:lnTo>
                    <a:pt x="141" y="565"/>
                  </a:lnTo>
                  <a:lnTo>
                    <a:pt x="129" y="553"/>
                  </a:lnTo>
                  <a:lnTo>
                    <a:pt x="125" y="545"/>
                  </a:lnTo>
                  <a:lnTo>
                    <a:pt x="105" y="532"/>
                  </a:lnTo>
                  <a:lnTo>
                    <a:pt x="85" y="512"/>
                  </a:lnTo>
                  <a:lnTo>
                    <a:pt x="72" y="508"/>
                  </a:lnTo>
                  <a:lnTo>
                    <a:pt x="64" y="504"/>
                  </a:lnTo>
                  <a:lnTo>
                    <a:pt x="56" y="500"/>
                  </a:lnTo>
                  <a:lnTo>
                    <a:pt x="52" y="492"/>
                  </a:lnTo>
                  <a:lnTo>
                    <a:pt x="36" y="488"/>
                  </a:lnTo>
                  <a:lnTo>
                    <a:pt x="20" y="476"/>
                  </a:lnTo>
                  <a:lnTo>
                    <a:pt x="12" y="464"/>
                  </a:lnTo>
                  <a:lnTo>
                    <a:pt x="0" y="448"/>
                  </a:lnTo>
                  <a:lnTo>
                    <a:pt x="0" y="432"/>
                  </a:lnTo>
                  <a:lnTo>
                    <a:pt x="0" y="415"/>
                  </a:lnTo>
                  <a:lnTo>
                    <a:pt x="4" y="411"/>
                  </a:lnTo>
                  <a:lnTo>
                    <a:pt x="4" y="403"/>
                  </a:lnTo>
                  <a:lnTo>
                    <a:pt x="12" y="403"/>
                  </a:lnTo>
                  <a:lnTo>
                    <a:pt x="20" y="403"/>
                  </a:lnTo>
                  <a:lnTo>
                    <a:pt x="32" y="411"/>
                  </a:lnTo>
                  <a:lnTo>
                    <a:pt x="40" y="415"/>
                  </a:lnTo>
                  <a:lnTo>
                    <a:pt x="44" y="420"/>
                  </a:lnTo>
                  <a:lnTo>
                    <a:pt x="52" y="428"/>
                  </a:lnTo>
                  <a:lnTo>
                    <a:pt x="56" y="448"/>
                  </a:lnTo>
                  <a:lnTo>
                    <a:pt x="56" y="460"/>
                  </a:lnTo>
                  <a:lnTo>
                    <a:pt x="68" y="460"/>
                  </a:lnTo>
                  <a:lnTo>
                    <a:pt x="85" y="460"/>
                  </a:lnTo>
                  <a:lnTo>
                    <a:pt x="93" y="452"/>
                  </a:lnTo>
                  <a:lnTo>
                    <a:pt x="105" y="448"/>
                  </a:lnTo>
                  <a:lnTo>
                    <a:pt x="125" y="420"/>
                  </a:lnTo>
                  <a:lnTo>
                    <a:pt x="145" y="391"/>
                  </a:lnTo>
                  <a:lnTo>
                    <a:pt x="149" y="387"/>
                  </a:lnTo>
                  <a:lnTo>
                    <a:pt x="157" y="387"/>
                  </a:lnTo>
                  <a:lnTo>
                    <a:pt x="161" y="379"/>
                  </a:lnTo>
                  <a:lnTo>
                    <a:pt x="161" y="375"/>
                  </a:lnTo>
                  <a:lnTo>
                    <a:pt x="169" y="367"/>
                  </a:lnTo>
                  <a:lnTo>
                    <a:pt x="185" y="355"/>
                  </a:lnTo>
                  <a:lnTo>
                    <a:pt x="185" y="351"/>
                  </a:lnTo>
                  <a:lnTo>
                    <a:pt x="185" y="347"/>
                  </a:lnTo>
                  <a:lnTo>
                    <a:pt x="197" y="339"/>
                  </a:lnTo>
                  <a:lnTo>
                    <a:pt x="206" y="331"/>
                  </a:lnTo>
                  <a:lnTo>
                    <a:pt x="218" y="331"/>
                  </a:lnTo>
                  <a:lnTo>
                    <a:pt x="234" y="331"/>
                  </a:lnTo>
                  <a:lnTo>
                    <a:pt x="266" y="347"/>
                  </a:lnTo>
                  <a:lnTo>
                    <a:pt x="298" y="363"/>
                  </a:lnTo>
                  <a:lnTo>
                    <a:pt x="302" y="371"/>
                  </a:lnTo>
                  <a:lnTo>
                    <a:pt x="310" y="379"/>
                  </a:lnTo>
                  <a:lnTo>
                    <a:pt x="314" y="379"/>
                  </a:lnTo>
                  <a:lnTo>
                    <a:pt x="323" y="383"/>
                  </a:lnTo>
                  <a:lnTo>
                    <a:pt x="343" y="391"/>
                  </a:lnTo>
                  <a:lnTo>
                    <a:pt x="363" y="399"/>
                  </a:lnTo>
                  <a:lnTo>
                    <a:pt x="399" y="391"/>
                  </a:lnTo>
                  <a:lnTo>
                    <a:pt x="415" y="387"/>
                  </a:lnTo>
                  <a:lnTo>
                    <a:pt x="431" y="383"/>
                  </a:lnTo>
                  <a:lnTo>
                    <a:pt x="464" y="371"/>
                  </a:lnTo>
                  <a:lnTo>
                    <a:pt x="468" y="367"/>
                  </a:lnTo>
                  <a:lnTo>
                    <a:pt x="472" y="363"/>
                  </a:lnTo>
                  <a:lnTo>
                    <a:pt x="480" y="351"/>
                  </a:lnTo>
                  <a:lnTo>
                    <a:pt x="484" y="347"/>
                  </a:lnTo>
                  <a:lnTo>
                    <a:pt x="484" y="339"/>
                  </a:lnTo>
                  <a:lnTo>
                    <a:pt x="484" y="327"/>
                  </a:lnTo>
                  <a:lnTo>
                    <a:pt x="480" y="323"/>
                  </a:lnTo>
                  <a:lnTo>
                    <a:pt x="472" y="319"/>
                  </a:lnTo>
                  <a:lnTo>
                    <a:pt x="472" y="298"/>
                  </a:lnTo>
                  <a:lnTo>
                    <a:pt x="468" y="282"/>
                  </a:lnTo>
                  <a:lnTo>
                    <a:pt x="472" y="266"/>
                  </a:lnTo>
                  <a:lnTo>
                    <a:pt x="472" y="242"/>
                  </a:lnTo>
                  <a:lnTo>
                    <a:pt x="484" y="218"/>
                  </a:lnTo>
                  <a:lnTo>
                    <a:pt x="492" y="194"/>
                  </a:lnTo>
                  <a:lnTo>
                    <a:pt x="508" y="194"/>
                  </a:lnTo>
                  <a:lnTo>
                    <a:pt x="532" y="194"/>
                  </a:lnTo>
                  <a:lnTo>
                    <a:pt x="548" y="198"/>
                  </a:lnTo>
                  <a:lnTo>
                    <a:pt x="573" y="206"/>
                  </a:lnTo>
                  <a:lnTo>
                    <a:pt x="573" y="222"/>
                  </a:lnTo>
                  <a:lnTo>
                    <a:pt x="577" y="242"/>
                  </a:lnTo>
                  <a:lnTo>
                    <a:pt x="573" y="254"/>
                  </a:lnTo>
                  <a:lnTo>
                    <a:pt x="569" y="270"/>
                  </a:lnTo>
                  <a:lnTo>
                    <a:pt x="565" y="270"/>
                  </a:lnTo>
                  <a:lnTo>
                    <a:pt x="557" y="278"/>
                  </a:lnTo>
                  <a:lnTo>
                    <a:pt x="552" y="286"/>
                  </a:lnTo>
                  <a:lnTo>
                    <a:pt x="548" y="294"/>
                  </a:lnTo>
                  <a:lnTo>
                    <a:pt x="548" y="298"/>
                  </a:lnTo>
                  <a:lnTo>
                    <a:pt x="548" y="303"/>
                  </a:lnTo>
                  <a:lnTo>
                    <a:pt x="552" y="319"/>
                  </a:lnTo>
                  <a:lnTo>
                    <a:pt x="557" y="327"/>
                  </a:lnTo>
                  <a:lnTo>
                    <a:pt x="565" y="331"/>
                  </a:lnTo>
                  <a:lnTo>
                    <a:pt x="569" y="335"/>
                  </a:lnTo>
                  <a:lnTo>
                    <a:pt x="573" y="355"/>
                  </a:lnTo>
                  <a:lnTo>
                    <a:pt x="577" y="379"/>
                  </a:lnTo>
                  <a:lnTo>
                    <a:pt x="585" y="379"/>
                  </a:lnTo>
                  <a:lnTo>
                    <a:pt x="597" y="379"/>
                  </a:lnTo>
                  <a:lnTo>
                    <a:pt x="605" y="371"/>
                  </a:lnTo>
                  <a:lnTo>
                    <a:pt x="617" y="363"/>
                  </a:lnTo>
                  <a:lnTo>
                    <a:pt x="617" y="339"/>
                  </a:lnTo>
                  <a:lnTo>
                    <a:pt x="621" y="319"/>
                  </a:lnTo>
                  <a:lnTo>
                    <a:pt x="637" y="319"/>
                  </a:lnTo>
                  <a:lnTo>
                    <a:pt x="649" y="323"/>
                  </a:lnTo>
                  <a:lnTo>
                    <a:pt x="657" y="331"/>
                  </a:lnTo>
                  <a:lnTo>
                    <a:pt x="669" y="339"/>
                  </a:lnTo>
                  <a:lnTo>
                    <a:pt x="686" y="343"/>
                  </a:lnTo>
                  <a:lnTo>
                    <a:pt x="710" y="343"/>
                  </a:lnTo>
                  <a:lnTo>
                    <a:pt x="718" y="335"/>
                  </a:lnTo>
                  <a:lnTo>
                    <a:pt x="726" y="331"/>
                  </a:lnTo>
                  <a:lnTo>
                    <a:pt x="734" y="327"/>
                  </a:lnTo>
                  <a:lnTo>
                    <a:pt x="738" y="323"/>
                  </a:lnTo>
                  <a:lnTo>
                    <a:pt x="738" y="307"/>
                  </a:lnTo>
                  <a:lnTo>
                    <a:pt x="738" y="294"/>
                  </a:lnTo>
                  <a:lnTo>
                    <a:pt x="750" y="282"/>
                  </a:lnTo>
                  <a:lnTo>
                    <a:pt x="762" y="270"/>
                  </a:lnTo>
                  <a:lnTo>
                    <a:pt x="774" y="266"/>
                  </a:lnTo>
                  <a:lnTo>
                    <a:pt x="790" y="258"/>
                  </a:lnTo>
                  <a:lnTo>
                    <a:pt x="815" y="258"/>
                  </a:lnTo>
                  <a:lnTo>
                    <a:pt x="839" y="254"/>
                  </a:lnTo>
                  <a:lnTo>
                    <a:pt x="851" y="246"/>
                  </a:lnTo>
                  <a:lnTo>
                    <a:pt x="859" y="234"/>
                  </a:lnTo>
                  <a:lnTo>
                    <a:pt x="871" y="234"/>
                  </a:lnTo>
                  <a:lnTo>
                    <a:pt x="895" y="218"/>
                  </a:lnTo>
                  <a:lnTo>
                    <a:pt x="903" y="214"/>
                  </a:lnTo>
                  <a:lnTo>
                    <a:pt x="916" y="206"/>
                  </a:lnTo>
                  <a:lnTo>
                    <a:pt x="944" y="194"/>
                  </a:lnTo>
                  <a:lnTo>
                    <a:pt x="980" y="181"/>
                  </a:lnTo>
                  <a:lnTo>
                    <a:pt x="992" y="169"/>
                  </a:lnTo>
                  <a:lnTo>
                    <a:pt x="1000" y="157"/>
                  </a:lnTo>
                  <a:lnTo>
                    <a:pt x="1004" y="145"/>
                  </a:lnTo>
                  <a:lnTo>
                    <a:pt x="1008" y="137"/>
                  </a:lnTo>
                  <a:lnTo>
                    <a:pt x="1016" y="133"/>
                  </a:lnTo>
                  <a:lnTo>
                    <a:pt x="1020" y="133"/>
                  </a:lnTo>
                  <a:lnTo>
                    <a:pt x="1037" y="129"/>
                  </a:lnTo>
                  <a:lnTo>
                    <a:pt x="1057" y="129"/>
                  </a:lnTo>
                  <a:lnTo>
                    <a:pt x="1065" y="125"/>
                  </a:lnTo>
                  <a:lnTo>
                    <a:pt x="1069" y="121"/>
                  </a:lnTo>
                  <a:lnTo>
                    <a:pt x="1069" y="109"/>
                  </a:lnTo>
                  <a:lnTo>
                    <a:pt x="1069" y="97"/>
                  </a:lnTo>
                  <a:lnTo>
                    <a:pt x="1065" y="89"/>
                  </a:lnTo>
                  <a:lnTo>
                    <a:pt x="1057" y="81"/>
                  </a:lnTo>
                  <a:lnTo>
                    <a:pt x="1053" y="81"/>
                  </a:lnTo>
                  <a:lnTo>
                    <a:pt x="1049" y="77"/>
                  </a:lnTo>
                  <a:lnTo>
                    <a:pt x="1045" y="77"/>
                  </a:lnTo>
                  <a:lnTo>
                    <a:pt x="1033" y="64"/>
                  </a:lnTo>
                  <a:lnTo>
                    <a:pt x="1029" y="52"/>
                  </a:lnTo>
                  <a:lnTo>
                    <a:pt x="1020" y="44"/>
                  </a:lnTo>
                  <a:lnTo>
                    <a:pt x="1000" y="36"/>
                  </a:lnTo>
                  <a:lnTo>
                    <a:pt x="984" y="28"/>
                  </a:lnTo>
                  <a:lnTo>
                    <a:pt x="980" y="28"/>
                  </a:lnTo>
                  <a:lnTo>
                    <a:pt x="980" y="12"/>
                  </a:lnTo>
                  <a:lnTo>
                    <a:pt x="984" y="0"/>
                  </a:lnTo>
                  <a:lnTo>
                    <a:pt x="1008" y="0"/>
                  </a:lnTo>
                  <a:lnTo>
                    <a:pt x="1037" y="0"/>
                  </a:lnTo>
                  <a:lnTo>
                    <a:pt x="1065" y="16"/>
                  </a:lnTo>
                  <a:lnTo>
                    <a:pt x="1093" y="40"/>
                  </a:lnTo>
                  <a:lnTo>
                    <a:pt x="1113" y="40"/>
                  </a:lnTo>
                  <a:lnTo>
                    <a:pt x="1133" y="44"/>
                  </a:lnTo>
                  <a:lnTo>
                    <a:pt x="1170" y="28"/>
                  </a:lnTo>
                  <a:lnTo>
                    <a:pt x="1194" y="24"/>
                  </a:lnTo>
                  <a:lnTo>
                    <a:pt x="1202" y="24"/>
                  </a:lnTo>
                  <a:lnTo>
                    <a:pt x="1210" y="24"/>
                  </a:lnTo>
                  <a:lnTo>
                    <a:pt x="1222" y="28"/>
                  </a:lnTo>
                  <a:lnTo>
                    <a:pt x="1226" y="28"/>
                  </a:lnTo>
                  <a:lnTo>
                    <a:pt x="1230" y="40"/>
                  </a:lnTo>
                  <a:lnTo>
                    <a:pt x="1238" y="48"/>
                  </a:lnTo>
                  <a:lnTo>
                    <a:pt x="1242" y="60"/>
                  </a:lnTo>
                  <a:lnTo>
                    <a:pt x="1250" y="64"/>
                  </a:lnTo>
                  <a:lnTo>
                    <a:pt x="1254" y="81"/>
                  </a:lnTo>
                  <a:lnTo>
                    <a:pt x="1258" y="89"/>
                  </a:lnTo>
                  <a:lnTo>
                    <a:pt x="1267" y="105"/>
                  </a:lnTo>
                  <a:lnTo>
                    <a:pt x="1283" y="125"/>
                  </a:lnTo>
                  <a:lnTo>
                    <a:pt x="1291" y="129"/>
                  </a:lnTo>
                  <a:lnTo>
                    <a:pt x="1303" y="133"/>
                  </a:lnTo>
                  <a:lnTo>
                    <a:pt x="1303" y="137"/>
                  </a:lnTo>
                  <a:lnTo>
                    <a:pt x="1303" y="145"/>
                  </a:lnTo>
                  <a:lnTo>
                    <a:pt x="1311" y="149"/>
                  </a:lnTo>
                  <a:lnTo>
                    <a:pt x="1335" y="157"/>
                  </a:lnTo>
                  <a:lnTo>
                    <a:pt x="1339" y="161"/>
                  </a:lnTo>
                  <a:lnTo>
                    <a:pt x="1339" y="169"/>
                  </a:lnTo>
                  <a:lnTo>
                    <a:pt x="1355" y="173"/>
                  </a:lnTo>
                  <a:lnTo>
                    <a:pt x="1367" y="181"/>
                  </a:lnTo>
                  <a:lnTo>
                    <a:pt x="1371" y="186"/>
                  </a:lnTo>
                  <a:lnTo>
                    <a:pt x="1371" y="194"/>
                  </a:lnTo>
                  <a:lnTo>
                    <a:pt x="1371" y="218"/>
                  </a:lnTo>
                  <a:lnTo>
                    <a:pt x="1367" y="234"/>
                  </a:lnTo>
                  <a:lnTo>
                    <a:pt x="1363" y="242"/>
                  </a:lnTo>
                  <a:lnTo>
                    <a:pt x="1363" y="246"/>
                  </a:lnTo>
                  <a:lnTo>
                    <a:pt x="1363" y="254"/>
                  </a:lnTo>
                  <a:lnTo>
                    <a:pt x="1363" y="266"/>
                  </a:lnTo>
                  <a:lnTo>
                    <a:pt x="1363" y="270"/>
                  </a:lnTo>
                  <a:lnTo>
                    <a:pt x="1367" y="270"/>
                  </a:lnTo>
                  <a:lnTo>
                    <a:pt x="1388" y="270"/>
                  </a:lnTo>
                  <a:lnTo>
                    <a:pt x="1408" y="270"/>
                  </a:lnTo>
                  <a:lnTo>
                    <a:pt x="1408" y="282"/>
                  </a:lnTo>
                  <a:lnTo>
                    <a:pt x="1416" y="290"/>
                  </a:lnTo>
                  <a:lnTo>
                    <a:pt x="1420" y="331"/>
                  </a:lnTo>
                  <a:lnTo>
                    <a:pt x="1424" y="379"/>
                  </a:lnTo>
                  <a:lnTo>
                    <a:pt x="1428" y="399"/>
                  </a:lnTo>
                  <a:lnTo>
                    <a:pt x="1436" y="411"/>
                  </a:lnTo>
                  <a:lnTo>
                    <a:pt x="1436" y="436"/>
                  </a:lnTo>
                  <a:lnTo>
                    <a:pt x="1432" y="464"/>
                  </a:lnTo>
                  <a:lnTo>
                    <a:pt x="1428" y="476"/>
                  </a:lnTo>
                  <a:lnTo>
                    <a:pt x="1424" y="488"/>
                  </a:lnTo>
                  <a:lnTo>
                    <a:pt x="1424" y="500"/>
                  </a:lnTo>
                  <a:lnTo>
                    <a:pt x="1424" y="516"/>
                  </a:lnTo>
                  <a:lnTo>
                    <a:pt x="1424" y="524"/>
                  </a:lnTo>
                  <a:lnTo>
                    <a:pt x="1428" y="532"/>
                  </a:lnTo>
                  <a:lnTo>
                    <a:pt x="1432" y="557"/>
                  </a:lnTo>
                  <a:lnTo>
                    <a:pt x="1436" y="581"/>
                  </a:lnTo>
                  <a:lnTo>
                    <a:pt x="1436" y="585"/>
                  </a:lnTo>
                  <a:lnTo>
                    <a:pt x="1444" y="585"/>
                  </a:lnTo>
                  <a:lnTo>
                    <a:pt x="1444" y="601"/>
                  </a:lnTo>
                  <a:lnTo>
                    <a:pt x="1448" y="617"/>
                  </a:lnTo>
                  <a:lnTo>
                    <a:pt x="1444" y="641"/>
                  </a:lnTo>
                  <a:lnTo>
                    <a:pt x="1444" y="666"/>
                  </a:lnTo>
                  <a:lnTo>
                    <a:pt x="1424" y="674"/>
                  </a:lnTo>
                  <a:lnTo>
                    <a:pt x="1420" y="682"/>
                  </a:lnTo>
                  <a:lnTo>
                    <a:pt x="1416" y="686"/>
                  </a:lnTo>
                  <a:lnTo>
                    <a:pt x="1408" y="698"/>
                  </a:lnTo>
                  <a:lnTo>
                    <a:pt x="1400" y="702"/>
                  </a:lnTo>
                  <a:lnTo>
                    <a:pt x="1392" y="710"/>
                  </a:lnTo>
                  <a:lnTo>
                    <a:pt x="1388" y="710"/>
                  </a:lnTo>
                  <a:lnTo>
                    <a:pt x="1384" y="718"/>
                  </a:lnTo>
                  <a:lnTo>
                    <a:pt x="1371" y="722"/>
                  </a:lnTo>
                  <a:lnTo>
                    <a:pt x="1363" y="730"/>
                  </a:lnTo>
                  <a:lnTo>
                    <a:pt x="1363" y="734"/>
                  </a:lnTo>
                  <a:lnTo>
                    <a:pt x="1363" y="742"/>
                  </a:lnTo>
                  <a:lnTo>
                    <a:pt x="1355" y="746"/>
                  </a:lnTo>
                  <a:lnTo>
                    <a:pt x="1343" y="750"/>
                  </a:lnTo>
                  <a:lnTo>
                    <a:pt x="1339" y="758"/>
                  </a:lnTo>
                  <a:lnTo>
                    <a:pt x="1335" y="771"/>
                  </a:lnTo>
                  <a:lnTo>
                    <a:pt x="1319" y="775"/>
                  </a:lnTo>
                  <a:lnTo>
                    <a:pt x="1303" y="783"/>
                  </a:lnTo>
                  <a:lnTo>
                    <a:pt x="1283" y="795"/>
                  </a:lnTo>
                  <a:lnTo>
                    <a:pt x="1262" y="815"/>
                  </a:lnTo>
                  <a:lnTo>
                    <a:pt x="1258" y="823"/>
                  </a:lnTo>
                  <a:lnTo>
                    <a:pt x="1254" y="831"/>
                  </a:lnTo>
                  <a:lnTo>
                    <a:pt x="1214" y="827"/>
                  </a:lnTo>
                  <a:lnTo>
                    <a:pt x="1178" y="819"/>
                  </a:lnTo>
                  <a:lnTo>
                    <a:pt x="1150" y="795"/>
                  </a:lnTo>
                  <a:lnTo>
                    <a:pt x="1141" y="787"/>
                  </a:lnTo>
                  <a:lnTo>
                    <a:pt x="1129" y="787"/>
                  </a:lnTo>
                  <a:lnTo>
                    <a:pt x="1117" y="783"/>
                  </a:lnTo>
                  <a:lnTo>
                    <a:pt x="1109" y="775"/>
                  </a:lnTo>
                  <a:lnTo>
                    <a:pt x="1097" y="766"/>
                  </a:lnTo>
                  <a:lnTo>
                    <a:pt x="1085" y="758"/>
                  </a:lnTo>
                  <a:lnTo>
                    <a:pt x="1077" y="754"/>
                  </a:lnTo>
                  <a:lnTo>
                    <a:pt x="1037" y="754"/>
                  </a:lnTo>
                  <a:lnTo>
                    <a:pt x="1000" y="754"/>
                  </a:lnTo>
                  <a:lnTo>
                    <a:pt x="984" y="758"/>
                  </a:lnTo>
                  <a:lnTo>
                    <a:pt x="956" y="779"/>
                  </a:lnTo>
                  <a:lnTo>
                    <a:pt x="932" y="787"/>
                  </a:lnTo>
                  <a:lnTo>
                    <a:pt x="903" y="795"/>
                  </a:lnTo>
                  <a:lnTo>
                    <a:pt x="871" y="807"/>
                  </a:lnTo>
                  <a:lnTo>
                    <a:pt x="855" y="823"/>
                  </a:lnTo>
                  <a:lnTo>
                    <a:pt x="799" y="839"/>
                  </a:lnTo>
                  <a:lnTo>
                    <a:pt x="746" y="851"/>
                  </a:lnTo>
                  <a:lnTo>
                    <a:pt x="734" y="851"/>
                  </a:lnTo>
                  <a:lnTo>
                    <a:pt x="718" y="851"/>
                  </a:lnTo>
                  <a:lnTo>
                    <a:pt x="714" y="847"/>
                  </a:lnTo>
                  <a:lnTo>
                    <a:pt x="690" y="843"/>
                  </a:lnTo>
                  <a:lnTo>
                    <a:pt x="686" y="839"/>
                  </a:lnTo>
                  <a:lnTo>
                    <a:pt x="621" y="815"/>
                  </a:lnTo>
                  <a:lnTo>
                    <a:pt x="593" y="803"/>
                  </a:lnTo>
                  <a:lnTo>
                    <a:pt x="581" y="795"/>
                  </a:lnTo>
                  <a:lnTo>
                    <a:pt x="577" y="787"/>
                  </a:lnTo>
                  <a:lnTo>
                    <a:pt x="544" y="787"/>
                  </a:lnTo>
                  <a:lnTo>
                    <a:pt x="508" y="787"/>
                  </a:lnTo>
                  <a:lnTo>
                    <a:pt x="492" y="779"/>
                  </a:lnTo>
                  <a:lnTo>
                    <a:pt x="456" y="766"/>
                  </a:lnTo>
                  <a:lnTo>
                    <a:pt x="440" y="766"/>
                  </a:lnTo>
                  <a:lnTo>
                    <a:pt x="423" y="766"/>
                  </a:lnTo>
                  <a:lnTo>
                    <a:pt x="391" y="775"/>
                  </a:lnTo>
                  <a:lnTo>
                    <a:pt x="355" y="779"/>
                  </a:lnTo>
                  <a:lnTo>
                    <a:pt x="347" y="783"/>
                  </a:lnTo>
                  <a:lnTo>
                    <a:pt x="343" y="791"/>
                  </a:lnTo>
                  <a:lnTo>
                    <a:pt x="339" y="795"/>
                  </a:lnTo>
                  <a:lnTo>
                    <a:pt x="339" y="803"/>
                  </a:lnTo>
                  <a:lnTo>
                    <a:pt x="335" y="831"/>
                  </a:lnTo>
                  <a:lnTo>
                    <a:pt x="335" y="863"/>
                  </a:lnTo>
                  <a:lnTo>
                    <a:pt x="327" y="867"/>
                  </a:lnTo>
                  <a:lnTo>
                    <a:pt x="318" y="871"/>
                  </a:lnTo>
                  <a:lnTo>
                    <a:pt x="318" y="892"/>
                  </a:lnTo>
                  <a:lnTo>
                    <a:pt x="314" y="916"/>
                  </a:lnTo>
                  <a:lnTo>
                    <a:pt x="302" y="936"/>
                  </a:lnTo>
                  <a:lnTo>
                    <a:pt x="294" y="952"/>
                  </a:lnTo>
                  <a:lnTo>
                    <a:pt x="286" y="960"/>
                  </a:lnTo>
                  <a:lnTo>
                    <a:pt x="270" y="964"/>
                  </a:lnTo>
                  <a:lnTo>
                    <a:pt x="258" y="972"/>
                  </a:lnTo>
                  <a:lnTo>
                    <a:pt x="242" y="976"/>
                  </a:lnTo>
                  <a:lnTo>
                    <a:pt x="234" y="980"/>
                  </a:lnTo>
                  <a:lnTo>
                    <a:pt x="222" y="988"/>
                  </a:lnTo>
                  <a:lnTo>
                    <a:pt x="214" y="988"/>
                  </a:lnTo>
                  <a:lnTo>
                    <a:pt x="206" y="988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39" name="Freeform 47"/>
            <p:cNvSpPr>
              <a:spLocks/>
            </p:cNvSpPr>
            <p:nvPr/>
          </p:nvSpPr>
          <p:spPr bwMode="auto">
            <a:xfrm>
              <a:off x="6137359" y="2758087"/>
              <a:ext cx="1079500" cy="919328"/>
            </a:xfrm>
            <a:custGeom>
              <a:avLst/>
              <a:gdLst>
                <a:gd name="T0" fmla="*/ 2147483647 w 1203"/>
                <a:gd name="T1" fmla="*/ 2147483647 h 1032"/>
                <a:gd name="T2" fmla="*/ 2147483647 w 1203"/>
                <a:gd name="T3" fmla="*/ 2147483647 h 1032"/>
                <a:gd name="T4" fmla="*/ 2147483647 w 1203"/>
                <a:gd name="T5" fmla="*/ 2147483647 h 1032"/>
                <a:gd name="T6" fmla="*/ 2147483647 w 1203"/>
                <a:gd name="T7" fmla="*/ 2147483647 h 1032"/>
                <a:gd name="T8" fmla="*/ 2147483647 w 1203"/>
                <a:gd name="T9" fmla="*/ 2147483647 h 1032"/>
                <a:gd name="T10" fmla="*/ 2147483647 w 1203"/>
                <a:gd name="T11" fmla="*/ 2147483647 h 1032"/>
                <a:gd name="T12" fmla="*/ 2147483647 w 1203"/>
                <a:gd name="T13" fmla="*/ 2147483647 h 1032"/>
                <a:gd name="T14" fmla="*/ 2147483647 w 1203"/>
                <a:gd name="T15" fmla="*/ 2147483647 h 1032"/>
                <a:gd name="T16" fmla="*/ 2147483647 w 1203"/>
                <a:gd name="T17" fmla="*/ 2147483647 h 1032"/>
                <a:gd name="T18" fmla="*/ 2147483647 w 1203"/>
                <a:gd name="T19" fmla="*/ 2147483647 h 1032"/>
                <a:gd name="T20" fmla="*/ 2147483647 w 1203"/>
                <a:gd name="T21" fmla="*/ 2147483647 h 1032"/>
                <a:gd name="T22" fmla="*/ 2147483647 w 1203"/>
                <a:gd name="T23" fmla="*/ 2147483647 h 1032"/>
                <a:gd name="T24" fmla="*/ 2147483647 w 1203"/>
                <a:gd name="T25" fmla="*/ 2147483647 h 1032"/>
                <a:gd name="T26" fmla="*/ 2147483647 w 1203"/>
                <a:gd name="T27" fmla="*/ 2147483647 h 1032"/>
                <a:gd name="T28" fmla="*/ 2147483647 w 1203"/>
                <a:gd name="T29" fmla="*/ 2147483647 h 1032"/>
                <a:gd name="T30" fmla="*/ 2147483647 w 1203"/>
                <a:gd name="T31" fmla="*/ 2147483647 h 1032"/>
                <a:gd name="T32" fmla="*/ 2147483647 w 1203"/>
                <a:gd name="T33" fmla="*/ 2147483647 h 1032"/>
                <a:gd name="T34" fmla="*/ 2147483647 w 1203"/>
                <a:gd name="T35" fmla="*/ 2147483647 h 1032"/>
                <a:gd name="T36" fmla="*/ 2147483647 w 1203"/>
                <a:gd name="T37" fmla="*/ 2147483647 h 1032"/>
                <a:gd name="T38" fmla="*/ 2147483647 w 1203"/>
                <a:gd name="T39" fmla="*/ 2147483647 h 1032"/>
                <a:gd name="T40" fmla="*/ 2147483647 w 1203"/>
                <a:gd name="T41" fmla="*/ 2147483647 h 1032"/>
                <a:gd name="T42" fmla="*/ 2147483647 w 1203"/>
                <a:gd name="T43" fmla="*/ 2147483647 h 1032"/>
                <a:gd name="T44" fmla="*/ 2147483647 w 1203"/>
                <a:gd name="T45" fmla="*/ 2147483647 h 1032"/>
                <a:gd name="T46" fmla="*/ 2147483647 w 1203"/>
                <a:gd name="T47" fmla="*/ 2147483647 h 1032"/>
                <a:gd name="T48" fmla="*/ 2147483647 w 1203"/>
                <a:gd name="T49" fmla="*/ 2147483647 h 1032"/>
                <a:gd name="T50" fmla="*/ 2147483647 w 1203"/>
                <a:gd name="T51" fmla="*/ 2147483647 h 1032"/>
                <a:gd name="T52" fmla="*/ 2147483647 w 1203"/>
                <a:gd name="T53" fmla="*/ 2147483647 h 1032"/>
                <a:gd name="T54" fmla="*/ 2147483647 w 1203"/>
                <a:gd name="T55" fmla="*/ 2147483647 h 1032"/>
                <a:gd name="T56" fmla="*/ 2147483647 w 1203"/>
                <a:gd name="T57" fmla="*/ 2147483647 h 1032"/>
                <a:gd name="T58" fmla="*/ 2147483647 w 1203"/>
                <a:gd name="T59" fmla="*/ 2147483647 h 1032"/>
                <a:gd name="T60" fmla="*/ 2147483647 w 1203"/>
                <a:gd name="T61" fmla="*/ 2147483647 h 1032"/>
                <a:gd name="T62" fmla="*/ 2147483647 w 1203"/>
                <a:gd name="T63" fmla="*/ 2147483647 h 1032"/>
                <a:gd name="T64" fmla="*/ 2147483647 w 1203"/>
                <a:gd name="T65" fmla="*/ 2147483647 h 1032"/>
                <a:gd name="T66" fmla="*/ 2147483647 w 1203"/>
                <a:gd name="T67" fmla="*/ 2147483647 h 1032"/>
                <a:gd name="T68" fmla="*/ 2147483647 w 1203"/>
                <a:gd name="T69" fmla="*/ 2147483647 h 1032"/>
                <a:gd name="T70" fmla="*/ 2147483647 w 1203"/>
                <a:gd name="T71" fmla="*/ 2147483647 h 1032"/>
                <a:gd name="T72" fmla="*/ 2147483647 w 1203"/>
                <a:gd name="T73" fmla="*/ 0 h 1032"/>
                <a:gd name="T74" fmla="*/ 2147483647 w 1203"/>
                <a:gd name="T75" fmla="*/ 2147483647 h 1032"/>
                <a:gd name="T76" fmla="*/ 2147483647 w 1203"/>
                <a:gd name="T77" fmla="*/ 2147483647 h 1032"/>
                <a:gd name="T78" fmla="*/ 2147483647 w 1203"/>
                <a:gd name="T79" fmla="*/ 2147483647 h 1032"/>
                <a:gd name="T80" fmla="*/ 2147483647 w 1203"/>
                <a:gd name="T81" fmla="*/ 2147483647 h 1032"/>
                <a:gd name="T82" fmla="*/ 2147483647 w 1203"/>
                <a:gd name="T83" fmla="*/ 2147483647 h 1032"/>
                <a:gd name="T84" fmla="*/ 2147483647 w 1203"/>
                <a:gd name="T85" fmla="*/ 2147483647 h 1032"/>
                <a:gd name="T86" fmla="*/ 2147483647 w 1203"/>
                <a:gd name="T87" fmla="*/ 2147483647 h 1032"/>
                <a:gd name="T88" fmla="*/ 2147483647 w 1203"/>
                <a:gd name="T89" fmla="*/ 2147483647 h 1032"/>
                <a:gd name="T90" fmla="*/ 2147483647 w 1203"/>
                <a:gd name="T91" fmla="*/ 2147483647 h 1032"/>
                <a:gd name="T92" fmla="*/ 2147483647 w 1203"/>
                <a:gd name="T93" fmla="*/ 2147483647 h 1032"/>
                <a:gd name="T94" fmla="*/ 2147483647 w 1203"/>
                <a:gd name="T95" fmla="*/ 2147483647 h 1032"/>
                <a:gd name="T96" fmla="*/ 2147483647 w 1203"/>
                <a:gd name="T97" fmla="*/ 2147483647 h 1032"/>
                <a:gd name="T98" fmla="*/ 2147483647 w 1203"/>
                <a:gd name="T99" fmla="*/ 2147483647 h 1032"/>
                <a:gd name="T100" fmla="*/ 2147483647 w 1203"/>
                <a:gd name="T101" fmla="*/ 2147483647 h 1032"/>
                <a:gd name="T102" fmla="*/ 2147483647 w 1203"/>
                <a:gd name="T103" fmla="*/ 2147483647 h 1032"/>
                <a:gd name="T104" fmla="*/ 2147483647 w 1203"/>
                <a:gd name="T105" fmla="*/ 2147483647 h 1032"/>
                <a:gd name="T106" fmla="*/ 2147483647 w 1203"/>
                <a:gd name="T107" fmla="*/ 2147483647 h 1032"/>
                <a:gd name="T108" fmla="*/ 2147483647 w 1203"/>
                <a:gd name="T109" fmla="*/ 2147483647 h 1032"/>
                <a:gd name="T110" fmla="*/ 2147483647 w 1203"/>
                <a:gd name="T111" fmla="*/ 2147483647 h 1032"/>
                <a:gd name="T112" fmla="*/ 2147483647 w 1203"/>
                <a:gd name="T113" fmla="*/ 2147483647 h 1032"/>
                <a:gd name="T114" fmla="*/ 2147483647 w 1203"/>
                <a:gd name="T115" fmla="*/ 2147483647 h 1032"/>
                <a:gd name="T116" fmla="*/ 2147483647 w 1203"/>
                <a:gd name="T117" fmla="*/ 2147483647 h 1032"/>
                <a:gd name="T118" fmla="*/ 2147483647 w 1203"/>
                <a:gd name="T119" fmla="*/ 2147483647 h 1032"/>
                <a:gd name="T120" fmla="*/ 2147483647 w 1203"/>
                <a:gd name="T121" fmla="*/ 2147483647 h 1032"/>
                <a:gd name="T122" fmla="*/ 2147483647 w 1203"/>
                <a:gd name="T123" fmla="*/ 2147483647 h 1032"/>
                <a:gd name="T124" fmla="*/ 2147483647 w 1203"/>
                <a:gd name="T125" fmla="*/ 2147483647 h 10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03"/>
                <a:gd name="T190" fmla="*/ 0 h 1032"/>
                <a:gd name="T191" fmla="*/ 1203 w 1203"/>
                <a:gd name="T192" fmla="*/ 1032 h 10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03" h="1032">
                  <a:moveTo>
                    <a:pt x="783" y="1032"/>
                  </a:moveTo>
                  <a:lnTo>
                    <a:pt x="767" y="1028"/>
                  </a:lnTo>
                  <a:lnTo>
                    <a:pt x="759" y="1020"/>
                  </a:lnTo>
                  <a:lnTo>
                    <a:pt x="735" y="1008"/>
                  </a:lnTo>
                  <a:lnTo>
                    <a:pt x="731" y="1004"/>
                  </a:lnTo>
                  <a:lnTo>
                    <a:pt x="731" y="996"/>
                  </a:lnTo>
                  <a:lnTo>
                    <a:pt x="731" y="988"/>
                  </a:lnTo>
                  <a:lnTo>
                    <a:pt x="739" y="984"/>
                  </a:lnTo>
                  <a:lnTo>
                    <a:pt x="751" y="972"/>
                  </a:lnTo>
                  <a:lnTo>
                    <a:pt x="755" y="972"/>
                  </a:lnTo>
                  <a:lnTo>
                    <a:pt x="759" y="968"/>
                  </a:lnTo>
                  <a:lnTo>
                    <a:pt x="763" y="956"/>
                  </a:lnTo>
                  <a:lnTo>
                    <a:pt x="767" y="932"/>
                  </a:lnTo>
                  <a:lnTo>
                    <a:pt x="775" y="932"/>
                  </a:lnTo>
                  <a:lnTo>
                    <a:pt x="779" y="915"/>
                  </a:lnTo>
                  <a:lnTo>
                    <a:pt x="783" y="903"/>
                  </a:lnTo>
                  <a:lnTo>
                    <a:pt x="783" y="895"/>
                  </a:lnTo>
                  <a:lnTo>
                    <a:pt x="783" y="887"/>
                  </a:lnTo>
                  <a:lnTo>
                    <a:pt x="775" y="871"/>
                  </a:lnTo>
                  <a:lnTo>
                    <a:pt x="767" y="867"/>
                  </a:lnTo>
                  <a:lnTo>
                    <a:pt x="759" y="867"/>
                  </a:lnTo>
                  <a:lnTo>
                    <a:pt x="755" y="867"/>
                  </a:lnTo>
                  <a:lnTo>
                    <a:pt x="751" y="871"/>
                  </a:lnTo>
                  <a:lnTo>
                    <a:pt x="747" y="875"/>
                  </a:lnTo>
                  <a:lnTo>
                    <a:pt x="731" y="875"/>
                  </a:lnTo>
                  <a:lnTo>
                    <a:pt x="718" y="871"/>
                  </a:lnTo>
                  <a:lnTo>
                    <a:pt x="718" y="859"/>
                  </a:lnTo>
                  <a:lnTo>
                    <a:pt x="714" y="847"/>
                  </a:lnTo>
                  <a:lnTo>
                    <a:pt x="706" y="843"/>
                  </a:lnTo>
                  <a:lnTo>
                    <a:pt x="698" y="839"/>
                  </a:lnTo>
                  <a:lnTo>
                    <a:pt x="682" y="839"/>
                  </a:lnTo>
                  <a:lnTo>
                    <a:pt x="670" y="839"/>
                  </a:lnTo>
                  <a:lnTo>
                    <a:pt x="666" y="839"/>
                  </a:lnTo>
                  <a:lnTo>
                    <a:pt x="662" y="843"/>
                  </a:lnTo>
                  <a:lnTo>
                    <a:pt x="654" y="855"/>
                  </a:lnTo>
                  <a:lnTo>
                    <a:pt x="646" y="867"/>
                  </a:lnTo>
                  <a:lnTo>
                    <a:pt x="622" y="867"/>
                  </a:lnTo>
                  <a:lnTo>
                    <a:pt x="589" y="859"/>
                  </a:lnTo>
                  <a:lnTo>
                    <a:pt x="585" y="859"/>
                  </a:lnTo>
                  <a:lnTo>
                    <a:pt x="581" y="859"/>
                  </a:lnTo>
                  <a:lnTo>
                    <a:pt x="549" y="855"/>
                  </a:lnTo>
                  <a:lnTo>
                    <a:pt x="513" y="847"/>
                  </a:lnTo>
                  <a:lnTo>
                    <a:pt x="501" y="839"/>
                  </a:lnTo>
                  <a:lnTo>
                    <a:pt x="488" y="831"/>
                  </a:lnTo>
                  <a:lnTo>
                    <a:pt x="476" y="835"/>
                  </a:lnTo>
                  <a:lnTo>
                    <a:pt x="456" y="835"/>
                  </a:lnTo>
                  <a:lnTo>
                    <a:pt x="428" y="855"/>
                  </a:lnTo>
                  <a:lnTo>
                    <a:pt x="408" y="859"/>
                  </a:lnTo>
                  <a:lnTo>
                    <a:pt x="392" y="859"/>
                  </a:lnTo>
                  <a:lnTo>
                    <a:pt x="371" y="859"/>
                  </a:lnTo>
                  <a:lnTo>
                    <a:pt x="359" y="855"/>
                  </a:lnTo>
                  <a:lnTo>
                    <a:pt x="351" y="839"/>
                  </a:lnTo>
                  <a:lnTo>
                    <a:pt x="339" y="819"/>
                  </a:lnTo>
                  <a:lnTo>
                    <a:pt x="327" y="794"/>
                  </a:lnTo>
                  <a:lnTo>
                    <a:pt x="311" y="794"/>
                  </a:lnTo>
                  <a:lnTo>
                    <a:pt x="299" y="794"/>
                  </a:lnTo>
                  <a:lnTo>
                    <a:pt x="263" y="798"/>
                  </a:lnTo>
                  <a:lnTo>
                    <a:pt x="234" y="802"/>
                  </a:lnTo>
                  <a:lnTo>
                    <a:pt x="222" y="811"/>
                  </a:lnTo>
                  <a:lnTo>
                    <a:pt x="214" y="827"/>
                  </a:lnTo>
                  <a:lnTo>
                    <a:pt x="198" y="827"/>
                  </a:lnTo>
                  <a:lnTo>
                    <a:pt x="182" y="827"/>
                  </a:lnTo>
                  <a:lnTo>
                    <a:pt x="170" y="819"/>
                  </a:lnTo>
                  <a:lnTo>
                    <a:pt x="150" y="811"/>
                  </a:lnTo>
                  <a:lnTo>
                    <a:pt x="117" y="811"/>
                  </a:lnTo>
                  <a:lnTo>
                    <a:pt x="85" y="811"/>
                  </a:lnTo>
                  <a:lnTo>
                    <a:pt x="65" y="819"/>
                  </a:lnTo>
                  <a:lnTo>
                    <a:pt x="45" y="827"/>
                  </a:lnTo>
                  <a:lnTo>
                    <a:pt x="37" y="827"/>
                  </a:lnTo>
                  <a:lnTo>
                    <a:pt x="21" y="827"/>
                  </a:lnTo>
                  <a:lnTo>
                    <a:pt x="21" y="811"/>
                  </a:lnTo>
                  <a:lnTo>
                    <a:pt x="4" y="798"/>
                  </a:lnTo>
                  <a:lnTo>
                    <a:pt x="0" y="782"/>
                  </a:lnTo>
                  <a:lnTo>
                    <a:pt x="0" y="758"/>
                  </a:lnTo>
                  <a:lnTo>
                    <a:pt x="4" y="758"/>
                  </a:lnTo>
                  <a:lnTo>
                    <a:pt x="4" y="746"/>
                  </a:lnTo>
                  <a:lnTo>
                    <a:pt x="4" y="738"/>
                  </a:lnTo>
                  <a:lnTo>
                    <a:pt x="8" y="726"/>
                  </a:lnTo>
                  <a:lnTo>
                    <a:pt x="8" y="710"/>
                  </a:lnTo>
                  <a:lnTo>
                    <a:pt x="21" y="706"/>
                  </a:lnTo>
                  <a:lnTo>
                    <a:pt x="29" y="702"/>
                  </a:lnTo>
                  <a:lnTo>
                    <a:pt x="69" y="702"/>
                  </a:lnTo>
                  <a:lnTo>
                    <a:pt x="113" y="702"/>
                  </a:lnTo>
                  <a:lnTo>
                    <a:pt x="121" y="698"/>
                  </a:lnTo>
                  <a:lnTo>
                    <a:pt x="133" y="698"/>
                  </a:lnTo>
                  <a:lnTo>
                    <a:pt x="142" y="694"/>
                  </a:lnTo>
                  <a:lnTo>
                    <a:pt x="150" y="690"/>
                  </a:lnTo>
                  <a:lnTo>
                    <a:pt x="162" y="677"/>
                  </a:lnTo>
                  <a:lnTo>
                    <a:pt x="174" y="665"/>
                  </a:lnTo>
                  <a:lnTo>
                    <a:pt x="178" y="653"/>
                  </a:lnTo>
                  <a:lnTo>
                    <a:pt x="186" y="641"/>
                  </a:lnTo>
                  <a:lnTo>
                    <a:pt x="186" y="621"/>
                  </a:lnTo>
                  <a:lnTo>
                    <a:pt x="182" y="613"/>
                  </a:lnTo>
                  <a:lnTo>
                    <a:pt x="178" y="605"/>
                  </a:lnTo>
                  <a:lnTo>
                    <a:pt x="174" y="605"/>
                  </a:lnTo>
                  <a:lnTo>
                    <a:pt x="166" y="585"/>
                  </a:lnTo>
                  <a:lnTo>
                    <a:pt x="162" y="577"/>
                  </a:lnTo>
                  <a:lnTo>
                    <a:pt x="142" y="573"/>
                  </a:lnTo>
                  <a:lnTo>
                    <a:pt x="121" y="564"/>
                  </a:lnTo>
                  <a:lnTo>
                    <a:pt x="121" y="532"/>
                  </a:lnTo>
                  <a:lnTo>
                    <a:pt x="129" y="500"/>
                  </a:lnTo>
                  <a:lnTo>
                    <a:pt x="117" y="484"/>
                  </a:lnTo>
                  <a:lnTo>
                    <a:pt x="105" y="464"/>
                  </a:lnTo>
                  <a:lnTo>
                    <a:pt x="105" y="456"/>
                  </a:lnTo>
                  <a:lnTo>
                    <a:pt x="105" y="447"/>
                  </a:lnTo>
                  <a:lnTo>
                    <a:pt x="109" y="439"/>
                  </a:lnTo>
                  <a:lnTo>
                    <a:pt x="117" y="427"/>
                  </a:lnTo>
                  <a:lnTo>
                    <a:pt x="146" y="427"/>
                  </a:lnTo>
                  <a:lnTo>
                    <a:pt x="178" y="427"/>
                  </a:lnTo>
                  <a:lnTo>
                    <a:pt x="186" y="431"/>
                  </a:lnTo>
                  <a:lnTo>
                    <a:pt x="194" y="435"/>
                  </a:lnTo>
                  <a:lnTo>
                    <a:pt x="202" y="439"/>
                  </a:lnTo>
                  <a:lnTo>
                    <a:pt x="214" y="439"/>
                  </a:lnTo>
                  <a:lnTo>
                    <a:pt x="226" y="443"/>
                  </a:lnTo>
                  <a:lnTo>
                    <a:pt x="250" y="456"/>
                  </a:lnTo>
                  <a:lnTo>
                    <a:pt x="275" y="456"/>
                  </a:lnTo>
                  <a:lnTo>
                    <a:pt x="327" y="456"/>
                  </a:lnTo>
                  <a:lnTo>
                    <a:pt x="331" y="456"/>
                  </a:lnTo>
                  <a:lnTo>
                    <a:pt x="339" y="451"/>
                  </a:lnTo>
                  <a:lnTo>
                    <a:pt x="371" y="443"/>
                  </a:lnTo>
                  <a:lnTo>
                    <a:pt x="408" y="435"/>
                  </a:lnTo>
                  <a:lnTo>
                    <a:pt x="416" y="435"/>
                  </a:lnTo>
                  <a:lnTo>
                    <a:pt x="420" y="439"/>
                  </a:lnTo>
                  <a:lnTo>
                    <a:pt x="432" y="451"/>
                  </a:lnTo>
                  <a:lnTo>
                    <a:pt x="452" y="472"/>
                  </a:lnTo>
                  <a:lnTo>
                    <a:pt x="476" y="472"/>
                  </a:lnTo>
                  <a:lnTo>
                    <a:pt x="505" y="472"/>
                  </a:lnTo>
                  <a:lnTo>
                    <a:pt x="533" y="460"/>
                  </a:lnTo>
                  <a:lnTo>
                    <a:pt x="565" y="456"/>
                  </a:lnTo>
                  <a:lnTo>
                    <a:pt x="585" y="447"/>
                  </a:lnTo>
                  <a:lnTo>
                    <a:pt x="601" y="439"/>
                  </a:lnTo>
                  <a:lnTo>
                    <a:pt x="622" y="419"/>
                  </a:lnTo>
                  <a:lnTo>
                    <a:pt x="638" y="407"/>
                  </a:lnTo>
                  <a:lnTo>
                    <a:pt x="638" y="399"/>
                  </a:lnTo>
                  <a:lnTo>
                    <a:pt x="638" y="387"/>
                  </a:lnTo>
                  <a:lnTo>
                    <a:pt x="650" y="387"/>
                  </a:lnTo>
                  <a:lnTo>
                    <a:pt x="654" y="383"/>
                  </a:lnTo>
                  <a:lnTo>
                    <a:pt x="666" y="383"/>
                  </a:lnTo>
                  <a:lnTo>
                    <a:pt x="674" y="383"/>
                  </a:lnTo>
                  <a:lnTo>
                    <a:pt x="686" y="391"/>
                  </a:lnTo>
                  <a:lnTo>
                    <a:pt x="702" y="403"/>
                  </a:lnTo>
                  <a:lnTo>
                    <a:pt x="718" y="403"/>
                  </a:lnTo>
                  <a:lnTo>
                    <a:pt x="726" y="403"/>
                  </a:lnTo>
                  <a:lnTo>
                    <a:pt x="735" y="403"/>
                  </a:lnTo>
                  <a:lnTo>
                    <a:pt x="739" y="403"/>
                  </a:lnTo>
                  <a:lnTo>
                    <a:pt x="747" y="391"/>
                  </a:lnTo>
                  <a:lnTo>
                    <a:pt x="755" y="375"/>
                  </a:lnTo>
                  <a:lnTo>
                    <a:pt x="759" y="367"/>
                  </a:lnTo>
                  <a:lnTo>
                    <a:pt x="767" y="359"/>
                  </a:lnTo>
                  <a:lnTo>
                    <a:pt x="775" y="351"/>
                  </a:lnTo>
                  <a:lnTo>
                    <a:pt x="779" y="339"/>
                  </a:lnTo>
                  <a:lnTo>
                    <a:pt x="787" y="334"/>
                  </a:lnTo>
                  <a:lnTo>
                    <a:pt x="795" y="322"/>
                  </a:lnTo>
                  <a:lnTo>
                    <a:pt x="803" y="314"/>
                  </a:lnTo>
                  <a:lnTo>
                    <a:pt x="803" y="302"/>
                  </a:lnTo>
                  <a:lnTo>
                    <a:pt x="807" y="298"/>
                  </a:lnTo>
                  <a:lnTo>
                    <a:pt x="815" y="290"/>
                  </a:lnTo>
                  <a:lnTo>
                    <a:pt x="815" y="278"/>
                  </a:lnTo>
                  <a:lnTo>
                    <a:pt x="815" y="262"/>
                  </a:lnTo>
                  <a:lnTo>
                    <a:pt x="787" y="246"/>
                  </a:lnTo>
                  <a:lnTo>
                    <a:pt x="735" y="213"/>
                  </a:lnTo>
                  <a:lnTo>
                    <a:pt x="726" y="205"/>
                  </a:lnTo>
                  <a:lnTo>
                    <a:pt x="718" y="197"/>
                  </a:lnTo>
                  <a:lnTo>
                    <a:pt x="690" y="185"/>
                  </a:lnTo>
                  <a:lnTo>
                    <a:pt x="654" y="157"/>
                  </a:lnTo>
                  <a:lnTo>
                    <a:pt x="650" y="153"/>
                  </a:lnTo>
                  <a:lnTo>
                    <a:pt x="646" y="145"/>
                  </a:lnTo>
                  <a:lnTo>
                    <a:pt x="634" y="141"/>
                  </a:lnTo>
                  <a:lnTo>
                    <a:pt x="622" y="133"/>
                  </a:lnTo>
                  <a:lnTo>
                    <a:pt x="622" y="121"/>
                  </a:lnTo>
                  <a:lnTo>
                    <a:pt x="618" y="113"/>
                  </a:lnTo>
                  <a:lnTo>
                    <a:pt x="622" y="113"/>
                  </a:lnTo>
                  <a:lnTo>
                    <a:pt x="622" y="109"/>
                  </a:lnTo>
                  <a:lnTo>
                    <a:pt x="622" y="96"/>
                  </a:lnTo>
                  <a:lnTo>
                    <a:pt x="622" y="80"/>
                  </a:lnTo>
                  <a:lnTo>
                    <a:pt x="618" y="68"/>
                  </a:lnTo>
                  <a:lnTo>
                    <a:pt x="609" y="60"/>
                  </a:lnTo>
                  <a:lnTo>
                    <a:pt x="581" y="60"/>
                  </a:lnTo>
                  <a:lnTo>
                    <a:pt x="549" y="60"/>
                  </a:lnTo>
                  <a:lnTo>
                    <a:pt x="541" y="48"/>
                  </a:lnTo>
                  <a:lnTo>
                    <a:pt x="533" y="44"/>
                  </a:lnTo>
                  <a:lnTo>
                    <a:pt x="533" y="36"/>
                  </a:lnTo>
                  <a:lnTo>
                    <a:pt x="533" y="32"/>
                  </a:lnTo>
                  <a:lnTo>
                    <a:pt x="541" y="20"/>
                  </a:lnTo>
                  <a:lnTo>
                    <a:pt x="549" y="0"/>
                  </a:lnTo>
                  <a:lnTo>
                    <a:pt x="597" y="8"/>
                  </a:lnTo>
                  <a:lnTo>
                    <a:pt x="638" y="8"/>
                  </a:lnTo>
                  <a:lnTo>
                    <a:pt x="702" y="8"/>
                  </a:lnTo>
                  <a:lnTo>
                    <a:pt x="767" y="20"/>
                  </a:lnTo>
                  <a:lnTo>
                    <a:pt x="775" y="24"/>
                  </a:lnTo>
                  <a:lnTo>
                    <a:pt x="783" y="28"/>
                  </a:lnTo>
                  <a:lnTo>
                    <a:pt x="787" y="36"/>
                  </a:lnTo>
                  <a:lnTo>
                    <a:pt x="795" y="44"/>
                  </a:lnTo>
                  <a:lnTo>
                    <a:pt x="835" y="44"/>
                  </a:lnTo>
                  <a:lnTo>
                    <a:pt x="872" y="44"/>
                  </a:lnTo>
                  <a:lnTo>
                    <a:pt x="884" y="36"/>
                  </a:lnTo>
                  <a:lnTo>
                    <a:pt x="900" y="24"/>
                  </a:lnTo>
                  <a:lnTo>
                    <a:pt x="936" y="24"/>
                  </a:lnTo>
                  <a:lnTo>
                    <a:pt x="977" y="24"/>
                  </a:lnTo>
                  <a:lnTo>
                    <a:pt x="1017" y="24"/>
                  </a:lnTo>
                  <a:lnTo>
                    <a:pt x="1057" y="24"/>
                  </a:lnTo>
                  <a:lnTo>
                    <a:pt x="1061" y="24"/>
                  </a:lnTo>
                  <a:lnTo>
                    <a:pt x="1061" y="28"/>
                  </a:lnTo>
                  <a:lnTo>
                    <a:pt x="1077" y="28"/>
                  </a:lnTo>
                  <a:lnTo>
                    <a:pt x="1094" y="28"/>
                  </a:lnTo>
                  <a:lnTo>
                    <a:pt x="1106" y="44"/>
                  </a:lnTo>
                  <a:lnTo>
                    <a:pt x="1118" y="56"/>
                  </a:lnTo>
                  <a:lnTo>
                    <a:pt x="1122" y="56"/>
                  </a:lnTo>
                  <a:lnTo>
                    <a:pt x="1126" y="56"/>
                  </a:lnTo>
                  <a:lnTo>
                    <a:pt x="1130" y="80"/>
                  </a:lnTo>
                  <a:lnTo>
                    <a:pt x="1130" y="100"/>
                  </a:lnTo>
                  <a:lnTo>
                    <a:pt x="1122" y="109"/>
                  </a:lnTo>
                  <a:lnTo>
                    <a:pt x="1114" y="121"/>
                  </a:lnTo>
                  <a:lnTo>
                    <a:pt x="1114" y="181"/>
                  </a:lnTo>
                  <a:lnTo>
                    <a:pt x="1106" y="226"/>
                  </a:lnTo>
                  <a:lnTo>
                    <a:pt x="1106" y="238"/>
                  </a:lnTo>
                  <a:lnTo>
                    <a:pt x="1106" y="246"/>
                  </a:lnTo>
                  <a:lnTo>
                    <a:pt x="1106" y="250"/>
                  </a:lnTo>
                  <a:lnTo>
                    <a:pt x="1102" y="254"/>
                  </a:lnTo>
                  <a:lnTo>
                    <a:pt x="1061" y="262"/>
                  </a:lnTo>
                  <a:lnTo>
                    <a:pt x="989" y="274"/>
                  </a:lnTo>
                  <a:lnTo>
                    <a:pt x="985" y="278"/>
                  </a:lnTo>
                  <a:lnTo>
                    <a:pt x="977" y="282"/>
                  </a:lnTo>
                  <a:lnTo>
                    <a:pt x="960" y="367"/>
                  </a:lnTo>
                  <a:lnTo>
                    <a:pt x="956" y="419"/>
                  </a:lnTo>
                  <a:lnTo>
                    <a:pt x="964" y="423"/>
                  </a:lnTo>
                  <a:lnTo>
                    <a:pt x="973" y="427"/>
                  </a:lnTo>
                  <a:lnTo>
                    <a:pt x="1001" y="431"/>
                  </a:lnTo>
                  <a:lnTo>
                    <a:pt x="1025" y="435"/>
                  </a:lnTo>
                  <a:lnTo>
                    <a:pt x="1029" y="435"/>
                  </a:lnTo>
                  <a:lnTo>
                    <a:pt x="1033" y="439"/>
                  </a:lnTo>
                  <a:lnTo>
                    <a:pt x="1057" y="443"/>
                  </a:lnTo>
                  <a:lnTo>
                    <a:pt x="1077" y="451"/>
                  </a:lnTo>
                  <a:lnTo>
                    <a:pt x="1086" y="456"/>
                  </a:lnTo>
                  <a:lnTo>
                    <a:pt x="1090" y="460"/>
                  </a:lnTo>
                  <a:lnTo>
                    <a:pt x="1114" y="464"/>
                  </a:lnTo>
                  <a:lnTo>
                    <a:pt x="1138" y="464"/>
                  </a:lnTo>
                  <a:lnTo>
                    <a:pt x="1138" y="472"/>
                  </a:lnTo>
                  <a:lnTo>
                    <a:pt x="1142" y="476"/>
                  </a:lnTo>
                  <a:lnTo>
                    <a:pt x="1142" y="484"/>
                  </a:lnTo>
                  <a:lnTo>
                    <a:pt x="1142" y="492"/>
                  </a:lnTo>
                  <a:lnTo>
                    <a:pt x="1138" y="496"/>
                  </a:lnTo>
                  <a:lnTo>
                    <a:pt x="1130" y="504"/>
                  </a:lnTo>
                  <a:lnTo>
                    <a:pt x="1122" y="508"/>
                  </a:lnTo>
                  <a:lnTo>
                    <a:pt x="1114" y="520"/>
                  </a:lnTo>
                  <a:lnTo>
                    <a:pt x="1106" y="532"/>
                  </a:lnTo>
                  <a:lnTo>
                    <a:pt x="1106" y="552"/>
                  </a:lnTo>
                  <a:lnTo>
                    <a:pt x="1114" y="556"/>
                  </a:lnTo>
                  <a:lnTo>
                    <a:pt x="1114" y="564"/>
                  </a:lnTo>
                  <a:lnTo>
                    <a:pt x="1114" y="589"/>
                  </a:lnTo>
                  <a:lnTo>
                    <a:pt x="1114" y="613"/>
                  </a:lnTo>
                  <a:lnTo>
                    <a:pt x="1122" y="621"/>
                  </a:lnTo>
                  <a:lnTo>
                    <a:pt x="1130" y="629"/>
                  </a:lnTo>
                  <a:lnTo>
                    <a:pt x="1150" y="653"/>
                  </a:lnTo>
                  <a:lnTo>
                    <a:pt x="1158" y="661"/>
                  </a:lnTo>
                  <a:lnTo>
                    <a:pt x="1166" y="669"/>
                  </a:lnTo>
                  <a:lnTo>
                    <a:pt x="1166" y="677"/>
                  </a:lnTo>
                  <a:lnTo>
                    <a:pt x="1170" y="677"/>
                  </a:lnTo>
                  <a:lnTo>
                    <a:pt x="1174" y="685"/>
                  </a:lnTo>
                  <a:lnTo>
                    <a:pt x="1174" y="690"/>
                  </a:lnTo>
                  <a:lnTo>
                    <a:pt x="1178" y="698"/>
                  </a:lnTo>
                  <a:lnTo>
                    <a:pt x="1182" y="702"/>
                  </a:lnTo>
                  <a:lnTo>
                    <a:pt x="1186" y="702"/>
                  </a:lnTo>
                  <a:lnTo>
                    <a:pt x="1186" y="710"/>
                  </a:lnTo>
                  <a:lnTo>
                    <a:pt x="1186" y="718"/>
                  </a:lnTo>
                  <a:lnTo>
                    <a:pt x="1198" y="730"/>
                  </a:lnTo>
                  <a:lnTo>
                    <a:pt x="1203" y="742"/>
                  </a:lnTo>
                  <a:lnTo>
                    <a:pt x="1203" y="750"/>
                  </a:lnTo>
                  <a:lnTo>
                    <a:pt x="1203" y="758"/>
                  </a:lnTo>
                  <a:lnTo>
                    <a:pt x="1198" y="762"/>
                  </a:lnTo>
                  <a:lnTo>
                    <a:pt x="1194" y="770"/>
                  </a:lnTo>
                  <a:lnTo>
                    <a:pt x="1194" y="794"/>
                  </a:lnTo>
                  <a:lnTo>
                    <a:pt x="1186" y="819"/>
                  </a:lnTo>
                  <a:lnTo>
                    <a:pt x="1178" y="827"/>
                  </a:lnTo>
                  <a:lnTo>
                    <a:pt x="1158" y="831"/>
                  </a:lnTo>
                  <a:lnTo>
                    <a:pt x="1138" y="835"/>
                  </a:lnTo>
                  <a:lnTo>
                    <a:pt x="1118" y="835"/>
                  </a:lnTo>
                  <a:lnTo>
                    <a:pt x="1114" y="839"/>
                  </a:lnTo>
                  <a:lnTo>
                    <a:pt x="1106" y="843"/>
                  </a:lnTo>
                  <a:lnTo>
                    <a:pt x="1106" y="867"/>
                  </a:lnTo>
                  <a:lnTo>
                    <a:pt x="1102" y="883"/>
                  </a:lnTo>
                  <a:lnTo>
                    <a:pt x="1094" y="887"/>
                  </a:lnTo>
                  <a:lnTo>
                    <a:pt x="1094" y="895"/>
                  </a:lnTo>
                  <a:lnTo>
                    <a:pt x="1077" y="903"/>
                  </a:lnTo>
                  <a:lnTo>
                    <a:pt x="1069" y="911"/>
                  </a:lnTo>
                  <a:lnTo>
                    <a:pt x="1049" y="915"/>
                  </a:lnTo>
                  <a:lnTo>
                    <a:pt x="997" y="932"/>
                  </a:lnTo>
                  <a:lnTo>
                    <a:pt x="985" y="932"/>
                  </a:lnTo>
                  <a:lnTo>
                    <a:pt x="981" y="932"/>
                  </a:lnTo>
                  <a:lnTo>
                    <a:pt x="981" y="936"/>
                  </a:lnTo>
                  <a:lnTo>
                    <a:pt x="985" y="944"/>
                  </a:lnTo>
                  <a:lnTo>
                    <a:pt x="973" y="960"/>
                  </a:lnTo>
                  <a:lnTo>
                    <a:pt x="964" y="972"/>
                  </a:lnTo>
                  <a:lnTo>
                    <a:pt x="956" y="984"/>
                  </a:lnTo>
                  <a:lnTo>
                    <a:pt x="948" y="992"/>
                  </a:lnTo>
                  <a:lnTo>
                    <a:pt x="932" y="992"/>
                  </a:lnTo>
                  <a:lnTo>
                    <a:pt x="920" y="996"/>
                  </a:lnTo>
                  <a:lnTo>
                    <a:pt x="912" y="992"/>
                  </a:lnTo>
                  <a:lnTo>
                    <a:pt x="912" y="988"/>
                  </a:lnTo>
                  <a:lnTo>
                    <a:pt x="896" y="984"/>
                  </a:lnTo>
                  <a:lnTo>
                    <a:pt x="884" y="980"/>
                  </a:lnTo>
                  <a:lnTo>
                    <a:pt x="884" y="968"/>
                  </a:lnTo>
                  <a:lnTo>
                    <a:pt x="880" y="960"/>
                  </a:lnTo>
                  <a:lnTo>
                    <a:pt x="868" y="960"/>
                  </a:lnTo>
                  <a:lnTo>
                    <a:pt x="848" y="960"/>
                  </a:lnTo>
                  <a:lnTo>
                    <a:pt x="843" y="960"/>
                  </a:lnTo>
                  <a:lnTo>
                    <a:pt x="839" y="968"/>
                  </a:lnTo>
                  <a:lnTo>
                    <a:pt x="835" y="980"/>
                  </a:lnTo>
                  <a:lnTo>
                    <a:pt x="831" y="984"/>
                  </a:lnTo>
                  <a:lnTo>
                    <a:pt x="827" y="988"/>
                  </a:lnTo>
                  <a:lnTo>
                    <a:pt x="827" y="996"/>
                  </a:lnTo>
                  <a:lnTo>
                    <a:pt x="827" y="1012"/>
                  </a:lnTo>
                  <a:lnTo>
                    <a:pt x="815" y="1020"/>
                  </a:lnTo>
                  <a:lnTo>
                    <a:pt x="803" y="1032"/>
                  </a:lnTo>
                  <a:lnTo>
                    <a:pt x="791" y="1032"/>
                  </a:lnTo>
                  <a:lnTo>
                    <a:pt x="783" y="1032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ru-RU" sz="1300" b="1"/>
            </a:p>
          </p:txBody>
        </p:sp>
        <p:sp>
          <p:nvSpPr>
            <p:cNvPr id="140" name="Freeform 48"/>
            <p:cNvSpPr>
              <a:spLocks/>
            </p:cNvSpPr>
            <p:nvPr/>
          </p:nvSpPr>
          <p:spPr bwMode="auto">
            <a:xfrm>
              <a:off x="4546684" y="2352739"/>
              <a:ext cx="1028700" cy="1232257"/>
            </a:xfrm>
            <a:custGeom>
              <a:avLst/>
              <a:gdLst>
                <a:gd name="T0" fmla="*/ 734857052 w 1146"/>
                <a:gd name="T1" fmla="*/ 1017566884 h 1384"/>
                <a:gd name="T2" fmla="*/ 669590284 w 1146"/>
                <a:gd name="T3" fmla="*/ 971970092 h 1384"/>
                <a:gd name="T4" fmla="*/ 592236745 w 1146"/>
                <a:gd name="T5" fmla="*/ 962850734 h 1384"/>
                <a:gd name="T6" fmla="*/ 536639393 w 1146"/>
                <a:gd name="T7" fmla="*/ 984129237 h 1384"/>
                <a:gd name="T8" fmla="*/ 468149075 w 1146"/>
                <a:gd name="T9" fmla="*/ 1020606670 h 1384"/>
                <a:gd name="T10" fmla="*/ 406910931 w 1146"/>
                <a:gd name="T11" fmla="*/ 1029726029 h 1384"/>
                <a:gd name="T12" fmla="*/ 319082789 w 1146"/>
                <a:gd name="T13" fmla="*/ 1008447526 h 1384"/>
                <a:gd name="T14" fmla="*/ 260261999 w 1146"/>
                <a:gd name="T15" fmla="*/ 987169023 h 1384"/>
                <a:gd name="T16" fmla="*/ 169210362 w 1146"/>
                <a:gd name="T17" fmla="*/ 971970092 h 1384"/>
                <a:gd name="T18" fmla="*/ 172433800 w 1146"/>
                <a:gd name="T19" fmla="*/ 904335287 h 1384"/>
                <a:gd name="T20" fmla="*/ 165987822 w 1146"/>
                <a:gd name="T21" fmla="*/ 861018116 h 1384"/>
                <a:gd name="T22" fmla="*/ 159540945 w 1146"/>
                <a:gd name="T23" fmla="*/ 836699827 h 1384"/>
                <a:gd name="T24" fmla="*/ 172433800 w 1146"/>
                <a:gd name="T25" fmla="*/ 778184598 h 1384"/>
                <a:gd name="T26" fmla="*/ 159540945 w 1146"/>
                <a:gd name="T27" fmla="*/ 750825651 h 1384"/>
                <a:gd name="T28" fmla="*/ 156318405 w 1146"/>
                <a:gd name="T29" fmla="*/ 667992132 h 1384"/>
                <a:gd name="T30" fmla="*/ 117641607 w 1146"/>
                <a:gd name="T31" fmla="*/ 643673843 h 1384"/>
                <a:gd name="T32" fmla="*/ 103943566 w 1146"/>
                <a:gd name="T33" fmla="*/ 594277100 h 1384"/>
                <a:gd name="T34" fmla="*/ 58820804 w 1146"/>
                <a:gd name="T35" fmla="*/ 557799667 h 1384"/>
                <a:gd name="T36" fmla="*/ 26590006 w 1146"/>
                <a:gd name="T37" fmla="*/ 515243533 h 1384"/>
                <a:gd name="T38" fmla="*/ 6445980 w 1146"/>
                <a:gd name="T39" fmla="*/ 484085507 h 1384"/>
                <a:gd name="T40" fmla="*/ 0 w 1146"/>
                <a:gd name="T41" fmla="*/ 465846790 h 1384"/>
                <a:gd name="T42" fmla="*/ 45928846 w 1146"/>
                <a:gd name="T43" fmla="*/ 432409033 h 1384"/>
                <a:gd name="T44" fmla="*/ 68490234 w 1146"/>
                <a:gd name="T45" fmla="*/ 407330580 h 1384"/>
                <a:gd name="T46" fmla="*/ 114418169 w 1146"/>
                <a:gd name="T47" fmla="*/ 373892932 h 1384"/>
                <a:gd name="T48" fmla="*/ 156318405 w 1146"/>
                <a:gd name="T49" fmla="*/ 361733788 h 1384"/>
                <a:gd name="T50" fmla="*/ 165987822 w 1146"/>
                <a:gd name="T51" fmla="*/ 266741125 h 1384"/>
                <a:gd name="T52" fmla="*/ 208693216 w 1146"/>
                <a:gd name="T53" fmla="*/ 266741125 h 1384"/>
                <a:gd name="T54" fmla="*/ 234477131 w 1146"/>
                <a:gd name="T55" fmla="*/ 272820697 h 1384"/>
                <a:gd name="T56" fmla="*/ 279599935 w 1146"/>
                <a:gd name="T57" fmla="*/ 251542194 h 1384"/>
                <a:gd name="T58" fmla="*/ 319082789 w 1146"/>
                <a:gd name="T59" fmla="*/ 223423900 h 1384"/>
                <a:gd name="T60" fmla="*/ 325528767 w 1146"/>
                <a:gd name="T61" fmla="*/ 180866894 h 1384"/>
                <a:gd name="T62" fmla="*/ 312636810 w 1146"/>
                <a:gd name="T63" fmla="*/ 165667963 h 1384"/>
                <a:gd name="T64" fmla="*/ 319082789 w 1146"/>
                <a:gd name="T65" fmla="*/ 110192493 h 1384"/>
                <a:gd name="T66" fmla="*/ 364205537 w 1146"/>
                <a:gd name="T67" fmla="*/ 107152707 h 1384"/>
                <a:gd name="T68" fmla="*/ 393212890 w 1146"/>
                <a:gd name="T69" fmla="*/ 140589510 h 1384"/>
                <a:gd name="T70" fmla="*/ 413356910 w 1146"/>
                <a:gd name="T71" fmla="*/ 159588391 h 1384"/>
                <a:gd name="T72" fmla="*/ 445587701 w 1146"/>
                <a:gd name="T73" fmla="*/ 152748654 h 1384"/>
                <a:gd name="T74" fmla="*/ 494739186 w 1146"/>
                <a:gd name="T75" fmla="*/ 131471023 h 1384"/>
                <a:gd name="T76" fmla="*/ 523747436 w 1146"/>
                <a:gd name="T77" fmla="*/ 82834417 h 1384"/>
                <a:gd name="T78" fmla="*/ 546308810 w 1146"/>
                <a:gd name="T79" fmla="*/ 36477447 h 1384"/>
                <a:gd name="T80" fmla="*/ 598682724 w 1146"/>
                <a:gd name="T81" fmla="*/ 9119362 h 1384"/>
                <a:gd name="T82" fmla="*/ 614798119 w 1146"/>
                <a:gd name="T83" fmla="*/ 0 h 1384"/>
                <a:gd name="T84" fmla="*/ 686511764 w 1146"/>
                <a:gd name="T85" fmla="*/ 15198938 h 1384"/>
                <a:gd name="T86" fmla="*/ 705849700 w 1146"/>
                <a:gd name="T87" fmla="*/ 39517233 h 1384"/>
                <a:gd name="T88" fmla="*/ 731634512 w 1146"/>
                <a:gd name="T89" fmla="*/ 54716164 h 1384"/>
                <a:gd name="T90" fmla="*/ 777562447 w 1146"/>
                <a:gd name="T91" fmla="*/ 73715059 h 1384"/>
                <a:gd name="T92" fmla="*/ 806569799 w 1146"/>
                <a:gd name="T93" fmla="*/ 88913990 h 1384"/>
                <a:gd name="T94" fmla="*/ 809793237 w 1146"/>
                <a:gd name="T95" fmla="*/ 159588391 h 1384"/>
                <a:gd name="T96" fmla="*/ 838800590 w 1146"/>
                <a:gd name="T97" fmla="*/ 223423900 h 1384"/>
                <a:gd name="T98" fmla="*/ 884729423 w 1146"/>
                <a:gd name="T99" fmla="*/ 303218558 h 1384"/>
                <a:gd name="T100" fmla="*/ 910514235 w 1146"/>
                <a:gd name="T101" fmla="*/ 432409033 h 1384"/>
                <a:gd name="T102" fmla="*/ 920182754 w 1146"/>
                <a:gd name="T103" fmla="*/ 496244651 h 1384"/>
                <a:gd name="T104" fmla="*/ 900844818 w 1146"/>
                <a:gd name="T105" fmla="*/ 536521164 h 1384"/>
                <a:gd name="T106" fmla="*/ 881506882 w 1146"/>
                <a:gd name="T107" fmla="*/ 649753415 h 1384"/>
                <a:gd name="T108" fmla="*/ 887952861 w 1146"/>
                <a:gd name="T109" fmla="*/ 750825651 h 1384"/>
                <a:gd name="T110" fmla="*/ 910514235 w 1146"/>
                <a:gd name="T111" fmla="*/ 818461110 h 1384"/>
                <a:gd name="T112" fmla="*/ 923406192 w 1146"/>
                <a:gd name="T113" fmla="*/ 864057902 h 1384"/>
                <a:gd name="T114" fmla="*/ 913736775 w 1146"/>
                <a:gd name="T115" fmla="*/ 919534435 h 1384"/>
                <a:gd name="T116" fmla="*/ 884729423 w 1146"/>
                <a:gd name="T117" fmla="*/ 1011487312 h 1384"/>
                <a:gd name="T118" fmla="*/ 816239216 w 1146"/>
                <a:gd name="T119" fmla="*/ 1051764696 h 13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146"/>
                <a:gd name="T181" fmla="*/ 0 h 1384"/>
                <a:gd name="T182" fmla="*/ 1146 w 1146"/>
                <a:gd name="T183" fmla="*/ 1384 h 13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146" h="1384">
                  <a:moveTo>
                    <a:pt x="977" y="1384"/>
                  </a:moveTo>
                  <a:lnTo>
                    <a:pt x="948" y="1367"/>
                  </a:lnTo>
                  <a:lnTo>
                    <a:pt x="920" y="1351"/>
                  </a:lnTo>
                  <a:lnTo>
                    <a:pt x="912" y="1339"/>
                  </a:lnTo>
                  <a:lnTo>
                    <a:pt x="904" y="1331"/>
                  </a:lnTo>
                  <a:lnTo>
                    <a:pt x="888" y="1307"/>
                  </a:lnTo>
                  <a:lnTo>
                    <a:pt x="860" y="1291"/>
                  </a:lnTo>
                  <a:lnTo>
                    <a:pt x="831" y="1279"/>
                  </a:lnTo>
                  <a:lnTo>
                    <a:pt x="791" y="1258"/>
                  </a:lnTo>
                  <a:lnTo>
                    <a:pt x="779" y="1258"/>
                  </a:lnTo>
                  <a:lnTo>
                    <a:pt x="767" y="1258"/>
                  </a:lnTo>
                  <a:lnTo>
                    <a:pt x="735" y="1267"/>
                  </a:lnTo>
                  <a:lnTo>
                    <a:pt x="710" y="1279"/>
                  </a:lnTo>
                  <a:lnTo>
                    <a:pt x="702" y="1283"/>
                  </a:lnTo>
                  <a:lnTo>
                    <a:pt x="682" y="1291"/>
                  </a:lnTo>
                  <a:lnTo>
                    <a:pt x="666" y="1295"/>
                  </a:lnTo>
                  <a:lnTo>
                    <a:pt x="650" y="1299"/>
                  </a:lnTo>
                  <a:lnTo>
                    <a:pt x="630" y="1319"/>
                  </a:lnTo>
                  <a:lnTo>
                    <a:pt x="610" y="1343"/>
                  </a:lnTo>
                  <a:lnTo>
                    <a:pt x="581" y="1343"/>
                  </a:lnTo>
                  <a:lnTo>
                    <a:pt x="553" y="1347"/>
                  </a:lnTo>
                  <a:lnTo>
                    <a:pt x="541" y="1351"/>
                  </a:lnTo>
                  <a:lnTo>
                    <a:pt x="529" y="1355"/>
                  </a:lnTo>
                  <a:lnTo>
                    <a:pt x="505" y="1355"/>
                  </a:lnTo>
                  <a:lnTo>
                    <a:pt x="444" y="1347"/>
                  </a:lnTo>
                  <a:lnTo>
                    <a:pt x="436" y="1347"/>
                  </a:lnTo>
                  <a:lnTo>
                    <a:pt x="420" y="1343"/>
                  </a:lnTo>
                  <a:lnTo>
                    <a:pt x="396" y="1327"/>
                  </a:lnTo>
                  <a:lnTo>
                    <a:pt x="371" y="1311"/>
                  </a:lnTo>
                  <a:lnTo>
                    <a:pt x="355" y="1307"/>
                  </a:lnTo>
                  <a:lnTo>
                    <a:pt x="331" y="1303"/>
                  </a:lnTo>
                  <a:lnTo>
                    <a:pt x="323" y="1299"/>
                  </a:lnTo>
                  <a:lnTo>
                    <a:pt x="319" y="1295"/>
                  </a:lnTo>
                  <a:lnTo>
                    <a:pt x="303" y="1291"/>
                  </a:lnTo>
                  <a:lnTo>
                    <a:pt x="210" y="1283"/>
                  </a:lnTo>
                  <a:lnTo>
                    <a:pt x="210" y="1279"/>
                  </a:lnTo>
                  <a:lnTo>
                    <a:pt x="210" y="1267"/>
                  </a:lnTo>
                  <a:lnTo>
                    <a:pt x="214" y="1263"/>
                  </a:lnTo>
                  <a:lnTo>
                    <a:pt x="214" y="1226"/>
                  </a:lnTo>
                  <a:lnTo>
                    <a:pt x="214" y="1190"/>
                  </a:lnTo>
                  <a:lnTo>
                    <a:pt x="210" y="1182"/>
                  </a:lnTo>
                  <a:lnTo>
                    <a:pt x="210" y="1170"/>
                  </a:lnTo>
                  <a:lnTo>
                    <a:pt x="206" y="1150"/>
                  </a:lnTo>
                  <a:lnTo>
                    <a:pt x="206" y="1133"/>
                  </a:lnTo>
                  <a:lnTo>
                    <a:pt x="202" y="1125"/>
                  </a:lnTo>
                  <a:lnTo>
                    <a:pt x="198" y="1117"/>
                  </a:lnTo>
                  <a:lnTo>
                    <a:pt x="198" y="1109"/>
                  </a:lnTo>
                  <a:lnTo>
                    <a:pt x="198" y="1101"/>
                  </a:lnTo>
                  <a:lnTo>
                    <a:pt x="206" y="1077"/>
                  </a:lnTo>
                  <a:lnTo>
                    <a:pt x="214" y="1061"/>
                  </a:lnTo>
                  <a:lnTo>
                    <a:pt x="214" y="1041"/>
                  </a:lnTo>
                  <a:lnTo>
                    <a:pt x="214" y="1024"/>
                  </a:lnTo>
                  <a:lnTo>
                    <a:pt x="210" y="1012"/>
                  </a:lnTo>
                  <a:lnTo>
                    <a:pt x="210" y="1004"/>
                  </a:lnTo>
                  <a:lnTo>
                    <a:pt x="202" y="992"/>
                  </a:lnTo>
                  <a:lnTo>
                    <a:pt x="198" y="988"/>
                  </a:lnTo>
                  <a:lnTo>
                    <a:pt x="198" y="952"/>
                  </a:lnTo>
                  <a:lnTo>
                    <a:pt x="198" y="916"/>
                  </a:lnTo>
                  <a:lnTo>
                    <a:pt x="194" y="895"/>
                  </a:lnTo>
                  <a:lnTo>
                    <a:pt x="194" y="879"/>
                  </a:lnTo>
                  <a:lnTo>
                    <a:pt x="166" y="875"/>
                  </a:lnTo>
                  <a:lnTo>
                    <a:pt x="142" y="867"/>
                  </a:lnTo>
                  <a:lnTo>
                    <a:pt x="146" y="855"/>
                  </a:lnTo>
                  <a:lnTo>
                    <a:pt x="146" y="847"/>
                  </a:lnTo>
                  <a:lnTo>
                    <a:pt x="146" y="815"/>
                  </a:lnTo>
                  <a:lnTo>
                    <a:pt x="142" y="782"/>
                  </a:lnTo>
                  <a:lnTo>
                    <a:pt x="138" y="782"/>
                  </a:lnTo>
                  <a:lnTo>
                    <a:pt x="129" y="782"/>
                  </a:lnTo>
                  <a:lnTo>
                    <a:pt x="117" y="762"/>
                  </a:lnTo>
                  <a:lnTo>
                    <a:pt x="109" y="746"/>
                  </a:lnTo>
                  <a:lnTo>
                    <a:pt x="93" y="738"/>
                  </a:lnTo>
                  <a:lnTo>
                    <a:pt x="73" y="734"/>
                  </a:lnTo>
                  <a:lnTo>
                    <a:pt x="49" y="710"/>
                  </a:lnTo>
                  <a:lnTo>
                    <a:pt x="37" y="694"/>
                  </a:lnTo>
                  <a:lnTo>
                    <a:pt x="33" y="686"/>
                  </a:lnTo>
                  <a:lnTo>
                    <a:pt x="33" y="678"/>
                  </a:lnTo>
                  <a:lnTo>
                    <a:pt x="21" y="661"/>
                  </a:lnTo>
                  <a:lnTo>
                    <a:pt x="16" y="649"/>
                  </a:lnTo>
                  <a:lnTo>
                    <a:pt x="8" y="645"/>
                  </a:lnTo>
                  <a:lnTo>
                    <a:pt x="8" y="637"/>
                  </a:lnTo>
                  <a:lnTo>
                    <a:pt x="4" y="629"/>
                  </a:lnTo>
                  <a:lnTo>
                    <a:pt x="4" y="625"/>
                  </a:lnTo>
                  <a:lnTo>
                    <a:pt x="0" y="617"/>
                  </a:lnTo>
                  <a:lnTo>
                    <a:pt x="0" y="613"/>
                  </a:lnTo>
                  <a:lnTo>
                    <a:pt x="0" y="605"/>
                  </a:lnTo>
                  <a:lnTo>
                    <a:pt x="16" y="593"/>
                  </a:lnTo>
                  <a:lnTo>
                    <a:pt x="37" y="577"/>
                  </a:lnTo>
                  <a:lnTo>
                    <a:pt x="57" y="569"/>
                  </a:lnTo>
                  <a:lnTo>
                    <a:pt x="73" y="565"/>
                  </a:lnTo>
                  <a:lnTo>
                    <a:pt x="73" y="561"/>
                  </a:lnTo>
                  <a:lnTo>
                    <a:pt x="81" y="556"/>
                  </a:lnTo>
                  <a:lnTo>
                    <a:pt x="85" y="536"/>
                  </a:lnTo>
                  <a:lnTo>
                    <a:pt x="85" y="516"/>
                  </a:lnTo>
                  <a:lnTo>
                    <a:pt x="97" y="504"/>
                  </a:lnTo>
                  <a:lnTo>
                    <a:pt x="117" y="492"/>
                  </a:lnTo>
                  <a:lnTo>
                    <a:pt x="142" y="492"/>
                  </a:lnTo>
                  <a:lnTo>
                    <a:pt x="166" y="492"/>
                  </a:lnTo>
                  <a:lnTo>
                    <a:pt x="178" y="488"/>
                  </a:lnTo>
                  <a:lnTo>
                    <a:pt x="194" y="480"/>
                  </a:lnTo>
                  <a:lnTo>
                    <a:pt x="194" y="476"/>
                  </a:lnTo>
                  <a:lnTo>
                    <a:pt x="198" y="468"/>
                  </a:lnTo>
                  <a:lnTo>
                    <a:pt x="198" y="411"/>
                  </a:lnTo>
                  <a:lnTo>
                    <a:pt x="202" y="355"/>
                  </a:lnTo>
                  <a:lnTo>
                    <a:pt x="206" y="351"/>
                  </a:lnTo>
                  <a:lnTo>
                    <a:pt x="210" y="347"/>
                  </a:lnTo>
                  <a:lnTo>
                    <a:pt x="230" y="347"/>
                  </a:lnTo>
                  <a:lnTo>
                    <a:pt x="255" y="347"/>
                  </a:lnTo>
                  <a:lnTo>
                    <a:pt x="259" y="351"/>
                  </a:lnTo>
                  <a:lnTo>
                    <a:pt x="263" y="351"/>
                  </a:lnTo>
                  <a:lnTo>
                    <a:pt x="267" y="355"/>
                  </a:lnTo>
                  <a:lnTo>
                    <a:pt x="275" y="359"/>
                  </a:lnTo>
                  <a:lnTo>
                    <a:pt x="291" y="359"/>
                  </a:lnTo>
                  <a:lnTo>
                    <a:pt x="311" y="359"/>
                  </a:lnTo>
                  <a:lnTo>
                    <a:pt x="319" y="351"/>
                  </a:lnTo>
                  <a:lnTo>
                    <a:pt x="335" y="347"/>
                  </a:lnTo>
                  <a:lnTo>
                    <a:pt x="347" y="331"/>
                  </a:lnTo>
                  <a:lnTo>
                    <a:pt x="367" y="314"/>
                  </a:lnTo>
                  <a:lnTo>
                    <a:pt x="371" y="310"/>
                  </a:lnTo>
                  <a:lnTo>
                    <a:pt x="380" y="310"/>
                  </a:lnTo>
                  <a:lnTo>
                    <a:pt x="396" y="294"/>
                  </a:lnTo>
                  <a:lnTo>
                    <a:pt x="416" y="270"/>
                  </a:lnTo>
                  <a:lnTo>
                    <a:pt x="416" y="258"/>
                  </a:lnTo>
                  <a:lnTo>
                    <a:pt x="408" y="246"/>
                  </a:lnTo>
                  <a:lnTo>
                    <a:pt x="404" y="238"/>
                  </a:lnTo>
                  <a:lnTo>
                    <a:pt x="396" y="234"/>
                  </a:lnTo>
                  <a:lnTo>
                    <a:pt x="396" y="230"/>
                  </a:lnTo>
                  <a:lnTo>
                    <a:pt x="392" y="222"/>
                  </a:lnTo>
                  <a:lnTo>
                    <a:pt x="388" y="218"/>
                  </a:lnTo>
                  <a:lnTo>
                    <a:pt x="384" y="210"/>
                  </a:lnTo>
                  <a:lnTo>
                    <a:pt x="384" y="181"/>
                  </a:lnTo>
                  <a:lnTo>
                    <a:pt x="384" y="149"/>
                  </a:lnTo>
                  <a:lnTo>
                    <a:pt x="396" y="145"/>
                  </a:lnTo>
                  <a:lnTo>
                    <a:pt x="416" y="141"/>
                  </a:lnTo>
                  <a:lnTo>
                    <a:pt x="436" y="141"/>
                  </a:lnTo>
                  <a:lnTo>
                    <a:pt x="448" y="141"/>
                  </a:lnTo>
                  <a:lnTo>
                    <a:pt x="452" y="141"/>
                  </a:lnTo>
                  <a:lnTo>
                    <a:pt x="456" y="145"/>
                  </a:lnTo>
                  <a:lnTo>
                    <a:pt x="472" y="165"/>
                  </a:lnTo>
                  <a:lnTo>
                    <a:pt x="480" y="181"/>
                  </a:lnTo>
                  <a:lnTo>
                    <a:pt x="488" y="185"/>
                  </a:lnTo>
                  <a:lnTo>
                    <a:pt x="501" y="189"/>
                  </a:lnTo>
                  <a:lnTo>
                    <a:pt x="505" y="197"/>
                  </a:lnTo>
                  <a:lnTo>
                    <a:pt x="509" y="201"/>
                  </a:lnTo>
                  <a:lnTo>
                    <a:pt x="513" y="210"/>
                  </a:lnTo>
                  <a:lnTo>
                    <a:pt x="521" y="210"/>
                  </a:lnTo>
                  <a:lnTo>
                    <a:pt x="529" y="210"/>
                  </a:lnTo>
                  <a:lnTo>
                    <a:pt x="537" y="210"/>
                  </a:lnTo>
                  <a:lnTo>
                    <a:pt x="553" y="201"/>
                  </a:lnTo>
                  <a:lnTo>
                    <a:pt x="553" y="197"/>
                  </a:lnTo>
                  <a:lnTo>
                    <a:pt x="577" y="189"/>
                  </a:lnTo>
                  <a:lnTo>
                    <a:pt x="589" y="181"/>
                  </a:lnTo>
                  <a:lnTo>
                    <a:pt x="614" y="173"/>
                  </a:lnTo>
                  <a:lnTo>
                    <a:pt x="638" y="165"/>
                  </a:lnTo>
                  <a:lnTo>
                    <a:pt x="642" y="157"/>
                  </a:lnTo>
                  <a:lnTo>
                    <a:pt x="650" y="149"/>
                  </a:lnTo>
                  <a:lnTo>
                    <a:pt x="650" y="109"/>
                  </a:lnTo>
                  <a:lnTo>
                    <a:pt x="654" y="72"/>
                  </a:lnTo>
                  <a:lnTo>
                    <a:pt x="654" y="64"/>
                  </a:lnTo>
                  <a:lnTo>
                    <a:pt x="662" y="52"/>
                  </a:lnTo>
                  <a:lnTo>
                    <a:pt x="678" y="48"/>
                  </a:lnTo>
                  <a:lnTo>
                    <a:pt x="702" y="44"/>
                  </a:lnTo>
                  <a:lnTo>
                    <a:pt x="735" y="28"/>
                  </a:lnTo>
                  <a:lnTo>
                    <a:pt x="743" y="20"/>
                  </a:lnTo>
                  <a:lnTo>
                    <a:pt x="743" y="12"/>
                  </a:lnTo>
                  <a:lnTo>
                    <a:pt x="747" y="4"/>
                  </a:lnTo>
                  <a:lnTo>
                    <a:pt x="747" y="0"/>
                  </a:lnTo>
                  <a:lnTo>
                    <a:pt x="755" y="0"/>
                  </a:lnTo>
                  <a:lnTo>
                    <a:pt x="763" y="0"/>
                  </a:lnTo>
                  <a:lnTo>
                    <a:pt x="771" y="0"/>
                  </a:lnTo>
                  <a:lnTo>
                    <a:pt x="807" y="4"/>
                  </a:lnTo>
                  <a:lnTo>
                    <a:pt x="835" y="12"/>
                  </a:lnTo>
                  <a:lnTo>
                    <a:pt x="852" y="20"/>
                  </a:lnTo>
                  <a:lnTo>
                    <a:pt x="868" y="28"/>
                  </a:lnTo>
                  <a:lnTo>
                    <a:pt x="872" y="28"/>
                  </a:lnTo>
                  <a:lnTo>
                    <a:pt x="876" y="32"/>
                  </a:lnTo>
                  <a:lnTo>
                    <a:pt x="876" y="52"/>
                  </a:lnTo>
                  <a:lnTo>
                    <a:pt x="884" y="64"/>
                  </a:lnTo>
                  <a:lnTo>
                    <a:pt x="888" y="68"/>
                  </a:lnTo>
                  <a:lnTo>
                    <a:pt x="892" y="72"/>
                  </a:lnTo>
                  <a:lnTo>
                    <a:pt x="908" y="72"/>
                  </a:lnTo>
                  <a:lnTo>
                    <a:pt x="924" y="80"/>
                  </a:lnTo>
                  <a:lnTo>
                    <a:pt x="940" y="88"/>
                  </a:lnTo>
                  <a:lnTo>
                    <a:pt x="952" y="93"/>
                  </a:lnTo>
                  <a:lnTo>
                    <a:pt x="965" y="97"/>
                  </a:lnTo>
                  <a:lnTo>
                    <a:pt x="985" y="97"/>
                  </a:lnTo>
                  <a:lnTo>
                    <a:pt x="989" y="101"/>
                  </a:lnTo>
                  <a:lnTo>
                    <a:pt x="993" y="105"/>
                  </a:lnTo>
                  <a:lnTo>
                    <a:pt x="1001" y="117"/>
                  </a:lnTo>
                  <a:lnTo>
                    <a:pt x="1005" y="133"/>
                  </a:lnTo>
                  <a:lnTo>
                    <a:pt x="1005" y="161"/>
                  </a:lnTo>
                  <a:lnTo>
                    <a:pt x="1001" y="193"/>
                  </a:lnTo>
                  <a:lnTo>
                    <a:pt x="1005" y="210"/>
                  </a:lnTo>
                  <a:lnTo>
                    <a:pt x="1009" y="226"/>
                  </a:lnTo>
                  <a:lnTo>
                    <a:pt x="1009" y="234"/>
                  </a:lnTo>
                  <a:lnTo>
                    <a:pt x="1009" y="246"/>
                  </a:lnTo>
                  <a:lnTo>
                    <a:pt x="1041" y="294"/>
                  </a:lnTo>
                  <a:lnTo>
                    <a:pt x="1053" y="310"/>
                  </a:lnTo>
                  <a:lnTo>
                    <a:pt x="1077" y="314"/>
                  </a:lnTo>
                  <a:lnTo>
                    <a:pt x="1086" y="322"/>
                  </a:lnTo>
                  <a:lnTo>
                    <a:pt x="1098" y="399"/>
                  </a:lnTo>
                  <a:lnTo>
                    <a:pt x="1106" y="439"/>
                  </a:lnTo>
                  <a:lnTo>
                    <a:pt x="1118" y="504"/>
                  </a:lnTo>
                  <a:lnTo>
                    <a:pt x="1122" y="552"/>
                  </a:lnTo>
                  <a:lnTo>
                    <a:pt x="1130" y="569"/>
                  </a:lnTo>
                  <a:lnTo>
                    <a:pt x="1142" y="589"/>
                  </a:lnTo>
                  <a:lnTo>
                    <a:pt x="1142" y="613"/>
                  </a:lnTo>
                  <a:lnTo>
                    <a:pt x="1146" y="645"/>
                  </a:lnTo>
                  <a:lnTo>
                    <a:pt x="1142" y="653"/>
                  </a:lnTo>
                  <a:lnTo>
                    <a:pt x="1142" y="661"/>
                  </a:lnTo>
                  <a:lnTo>
                    <a:pt x="1130" y="669"/>
                  </a:lnTo>
                  <a:lnTo>
                    <a:pt x="1122" y="686"/>
                  </a:lnTo>
                  <a:lnTo>
                    <a:pt x="1118" y="706"/>
                  </a:lnTo>
                  <a:lnTo>
                    <a:pt x="1114" y="710"/>
                  </a:lnTo>
                  <a:lnTo>
                    <a:pt x="1106" y="770"/>
                  </a:lnTo>
                  <a:lnTo>
                    <a:pt x="1102" y="795"/>
                  </a:lnTo>
                  <a:lnTo>
                    <a:pt x="1094" y="855"/>
                  </a:lnTo>
                  <a:lnTo>
                    <a:pt x="1090" y="912"/>
                  </a:lnTo>
                  <a:lnTo>
                    <a:pt x="1094" y="936"/>
                  </a:lnTo>
                  <a:lnTo>
                    <a:pt x="1094" y="964"/>
                  </a:lnTo>
                  <a:lnTo>
                    <a:pt x="1102" y="988"/>
                  </a:lnTo>
                  <a:lnTo>
                    <a:pt x="1114" y="1024"/>
                  </a:lnTo>
                  <a:lnTo>
                    <a:pt x="1122" y="1029"/>
                  </a:lnTo>
                  <a:lnTo>
                    <a:pt x="1126" y="1041"/>
                  </a:lnTo>
                  <a:lnTo>
                    <a:pt x="1130" y="1077"/>
                  </a:lnTo>
                  <a:lnTo>
                    <a:pt x="1130" y="1117"/>
                  </a:lnTo>
                  <a:lnTo>
                    <a:pt x="1142" y="1125"/>
                  </a:lnTo>
                  <a:lnTo>
                    <a:pt x="1146" y="1133"/>
                  </a:lnTo>
                  <a:lnTo>
                    <a:pt x="1146" y="1137"/>
                  </a:lnTo>
                  <a:lnTo>
                    <a:pt x="1146" y="1141"/>
                  </a:lnTo>
                  <a:lnTo>
                    <a:pt x="1142" y="1150"/>
                  </a:lnTo>
                  <a:lnTo>
                    <a:pt x="1134" y="1178"/>
                  </a:lnTo>
                  <a:lnTo>
                    <a:pt x="1134" y="1210"/>
                  </a:lnTo>
                  <a:lnTo>
                    <a:pt x="1126" y="1279"/>
                  </a:lnTo>
                  <a:lnTo>
                    <a:pt x="1122" y="1291"/>
                  </a:lnTo>
                  <a:lnTo>
                    <a:pt x="1118" y="1307"/>
                  </a:lnTo>
                  <a:lnTo>
                    <a:pt x="1098" y="1331"/>
                  </a:lnTo>
                  <a:lnTo>
                    <a:pt x="1086" y="1359"/>
                  </a:lnTo>
                  <a:lnTo>
                    <a:pt x="1065" y="1367"/>
                  </a:lnTo>
                  <a:lnTo>
                    <a:pt x="1045" y="1380"/>
                  </a:lnTo>
                  <a:lnTo>
                    <a:pt x="1013" y="1384"/>
                  </a:lnTo>
                  <a:lnTo>
                    <a:pt x="977" y="138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00" b="1">
                <a:latin typeface="+mn-lt"/>
                <a:cs typeface="+mn-cs"/>
              </a:endParaRPr>
            </a:p>
          </p:txBody>
        </p:sp>
        <p:sp>
          <p:nvSpPr>
            <p:cNvPr id="141" name="Freeform 49"/>
            <p:cNvSpPr>
              <a:spLocks/>
            </p:cNvSpPr>
            <p:nvPr/>
          </p:nvSpPr>
          <p:spPr bwMode="auto">
            <a:xfrm>
              <a:off x="6027821" y="2258698"/>
              <a:ext cx="957263" cy="674499"/>
            </a:xfrm>
            <a:custGeom>
              <a:avLst/>
              <a:gdLst>
                <a:gd name="T0" fmla="*/ 2147483647 w 1065"/>
                <a:gd name="T1" fmla="*/ 2147483647 h 758"/>
                <a:gd name="T2" fmla="*/ 2147483647 w 1065"/>
                <a:gd name="T3" fmla="*/ 2147483647 h 758"/>
                <a:gd name="T4" fmla="*/ 2147483647 w 1065"/>
                <a:gd name="T5" fmla="*/ 2147483647 h 758"/>
                <a:gd name="T6" fmla="*/ 2147483647 w 1065"/>
                <a:gd name="T7" fmla="*/ 2147483647 h 758"/>
                <a:gd name="T8" fmla="*/ 2147483647 w 1065"/>
                <a:gd name="T9" fmla="*/ 2147483647 h 758"/>
                <a:gd name="T10" fmla="*/ 2147483647 w 1065"/>
                <a:gd name="T11" fmla="*/ 2147483647 h 758"/>
                <a:gd name="T12" fmla="*/ 2147483647 w 1065"/>
                <a:gd name="T13" fmla="*/ 2147483647 h 758"/>
                <a:gd name="T14" fmla="*/ 2147483647 w 1065"/>
                <a:gd name="T15" fmla="*/ 2147483647 h 758"/>
                <a:gd name="T16" fmla="*/ 2147483647 w 1065"/>
                <a:gd name="T17" fmla="*/ 2147483647 h 758"/>
                <a:gd name="T18" fmla="*/ 0 w 1065"/>
                <a:gd name="T19" fmla="*/ 2147483647 h 758"/>
                <a:gd name="T20" fmla="*/ 2147483647 w 1065"/>
                <a:gd name="T21" fmla="*/ 2147483647 h 758"/>
                <a:gd name="T22" fmla="*/ 2147483647 w 1065"/>
                <a:gd name="T23" fmla="*/ 2147483647 h 758"/>
                <a:gd name="T24" fmla="*/ 2147483647 w 1065"/>
                <a:gd name="T25" fmla="*/ 2147483647 h 758"/>
                <a:gd name="T26" fmla="*/ 2147483647 w 1065"/>
                <a:gd name="T27" fmla="*/ 2147483647 h 758"/>
                <a:gd name="T28" fmla="*/ 2147483647 w 1065"/>
                <a:gd name="T29" fmla="*/ 2147483647 h 758"/>
                <a:gd name="T30" fmla="*/ 2147483647 w 1065"/>
                <a:gd name="T31" fmla="*/ 2147483647 h 758"/>
                <a:gd name="T32" fmla="*/ 2147483647 w 1065"/>
                <a:gd name="T33" fmla="*/ 2147483647 h 758"/>
                <a:gd name="T34" fmla="*/ 2147483647 w 1065"/>
                <a:gd name="T35" fmla="*/ 2147483647 h 758"/>
                <a:gd name="T36" fmla="*/ 2147483647 w 1065"/>
                <a:gd name="T37" fmla="*/ 2147483647 h 758"/>
                <a:gd name="T38" fmla="*/ 2147483647 w 1065"/>
                <a:gd name="T39" fmla="*/ 2147483647 h 758"/>
                <a:gd name="T40" fmla="*/ 2147483647 w 1065"/>
                <a:gd name="T41" fmla="*/ 2147483647 h 758"/>
                <a:gd name="T42" fmla="*/ 2147483647 w 1065"/>
                <a:gd name="T43" fmla="*/ 2147483647 h 758"/>
                <a:gd name="T44" fmla="*/ 2147483647 w 1065"/>
                <a:gd name="T45" fmla="*/ 2147483647 h 758"/>
                <a:gd name="T46" fmla="*/ 2147483647 w 1065"/>
                <a:gd name="T47" fmla="*/ 2147483647 h 758"/>
                <a:gd name="T48" fmla="*/ 2147483647 w 1065"/>
                <a:gd name="T49" fmla="*/ 2147483647 h 758"/>
                <a:gd name="T50" fmla="*/ 2147483647 w 1065"/>
                <a:gd name="T51" fmla="*/ 2147483647 h 758"/>
                <a:gd name="T52" fmla="*/ 2147483647 w 1065"/>
                <a:gd name="T53" fmla="*/ 0 h 758"/>
                <a:gd name="T54" fmla="*/ 2147483647 w 1065"/>
                <a:gd name="T55" fmla="*/ 2147483647 h 758"/>
                <a:gd name="T56" fmla="*/ 2147483647 w 1065"/>
                <a:gd name="T57" fmla="*/ 2147483647 h 758"/>
                <a:gd name="T58" fmla="*/ 2147483647 w 1065"/>
                <a:gd name="T59" fmla="*/ 2147483647 h 758"/>
                <a:gd name="T60" fmla="*/ 2147483647 w 1065"/>
                <a:gd name="T61" fmla="*/ 2147483647 h 758"/>
                <a:gd name="T62" fmla="*/ 2147483647 w 1065"/>
                <a:gd name="T63" fmla="*/ 2147483647 h 758"/>
                <a:gd name="T64" fmla="*/ 2147483647 w 1065"/>
                <a:gd name="T65" fmla="*/ 2147483647 h 758"/>
                <a:gd name="T66" fmla="*/ 2147483647 w 1065"/>
                <a:gd name="T67" fmla="*/ 2147483647 h 758"/>
                <a:gd name="T68" fmla="*/ 2147483647 w 1065"/>
                <a:gd name="T69" fmla="*/ 2147483647 h 758"/>
                <a:gd name="T70" fmla="*/ 2147483647 w 1065"/>
                <a:gd name="T71" fmla="*/ 2147483647 h 758"/>
                <a:gd name="T72" fmla="*/ 2147483647 w 1065"/>
                <a:gd name="T73" fmla="*/ 2147483647 h 758"/>
                <a:gd name="T74" fmla="*/ 2147483647 w 1065"/>
                <a:gd name="T75" fmla="*/ 2147483647 h 758"/>
                <a:gd name="T76" fmla="*/ 2147483647 w 1065"/>
                <a:gd name="T77" fmla="*/ 2147483647 h 758"/>
                <a:gd name="T78" fmla="*/ 2147483647 w 1065"/>
                <a:gd name="T79" fmla="*/ 2147483647 h 758"/>
                <a:gd name="T80" fmla="*/ 2147483647 w 1065"/>
                <a:gd name="T81" fmla="*/ 2147483647 h 758"/>
                <a:gd name="T82" fmla="*/ 2147483647 w 1065"/>
                <a:gd name="T83" fmla="*/ 2147483647 h 758"/>
                <a:gd name="T84" fmla="*/ 2147483647 w 1065"/>
                <a:gd name="T85" fmla="*/ 2147483647 h 758"/>
                <a:gd name="T86" fmla="*/ 2147483647 w 1065"/>
                <a:gd name="T87" fmla="*/ 2147483647 h 758"/>
                <a:gd name="T88" fmla="*/ 2147483647 w 1065"/>
                <a:gd name="T89" fmla="*/ 2147483647 h 758"/>
                <a:gd name="T90" fmla="*/ 2147483647 w 1065"/>
                <a:gd name="T91" fmla="*/ 2147483647 h 758"/>
                <a:gd name="T92" fmla="*/ 2147483647 w 1065"/>
                <a:gd name="T93" fmla="*/ 2147483647 h 758"/>
                <a:gd name="T94" fmla="*/ 2147483647 w 1065"/>
                <a:gd name="T95" fmla="*/ 2147483647 h 758"/>
                <a:gd name="T96" fmla="*/ 2147483647 w 1065"/>
                <a:gd name="T97" fmla="*/ 2147483647 h 758"/>
                <a:gd name="T98" fmla="*/ 2147483647 w 1065"/>
                <a:gd name="T99" fmla="*/ 2147483647 h 758"/>
                <a:gd name="T100" fmla="*/ 2147483647 w 1065"/>
                <a:gd name="T101" fmla="*/ 2147483647 h 7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065"/>
                <a:gd name="T154" fmla="*/ 0 h 758"/>
                <a:gd name="T155" fmla="*/ 1065 w 1065"/>
                <a:gd name="T156" fmla="*/ 758 h 7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065" h="758">
                  <a:moveTo>
                    <a:pt x="420" y="670"/>
                  </a:moveTo>
                  <a:lnTo>
                    <a:pt x="408" y="641"/>
                  </a:lnTo>
                  <a:lnTo>
                    <a:pt x="404" y="621"/>
                  </a:lnTo>
                  <a:lnTo>
                    <a:pt x="396" y="609"/>
                  </a:lnTo>
                  <a:lnTo>
                    <a:pt x="388" y="597"/>
                  </a:lnTo>
                  <a:lnTo>
                    <a:pt x="343" y="597"/>
                  </a:lnTo>
                  <a:lnTo>
                    <a:pt x="303" y="597"/>
                  </a:lnTo>
                  <a:lnTo>
                    <a:pt x="263" y="629"/>
                  </a:lnTo>
                  <a:lnTo>
                    <a:pt x="246" y="645"/>
                  </a:lnTo>
                  <a:lnTo>
                    <a:pt x="242" y="657"/>
                  </a:lnTo>
                  <a:lnTo>
                    <a:pt x="230" y="670"/>
                  </a:lnTo>
                  <a:lnTo>
                    <a:pt x="226" y="670"/>
                  </a:lnTo>
                  <a:lnTo>
                    <a:pt x="222" y="674"/>
                  </a:lnTo>
                  <a:lnTo>
                    <a:pt x="210" y="678"/>
                  </a:lnTo>
                  <a:lnTo>
                    <a:pt x="206" y="690"/>
                  </a:lnTo>
                  <a:lnTo>
                    <a:pt x="194" y="694"/>
                  </a:lnTo>
                  <a:lnTo>
                    <a:pt x="182" y="694"/>
                  </a:lnTo>
                  <a:lnTo>
                    <a:pt x="174" y="682"/>
                  </a:lnTo>
                  <a:lnTo>
                    <a:pt x="166" y="674"/>
                  </a:lnTo>
                  <a:lnTo>
                    <a:pt x="166" y="666"/>
                  </a:lnTo>
                  <a:lnTo>
                    <a:pt x="166" y="653"/>
                  </a:lnTo>
                  <a:lnTo>
                    <a:pt x="174" y="641"/>
                  </a:lnTo>
                  <a:lnTo>
                    <a:pt x="190" y="629"/>
                  </a:lnTo>
                  <a:lnTo>
                    <a:pt x="194" y="609"/>
                  </a:lnTo>
                  <a:lnTo>
                    <a:pt x="202" y="593"/>
                  </a:lnTo>
                  <a:lnTo>
                    <a:pt x="202" y="589"/>
                  </a:lnTo>
                  <a:lnTo>
                    <a:pt x="202" y="581"/>
                  </a:lnTo>
                  <a:lnTo>
                    <a:pt x="198" y="569"/>
                  </a:lnTo>
                  <a:lnTo>
                    <a:pt x="190" y="557"/>
                  </a:lnTo>
                  <a:lnTo>
                    <a:pt x="174" y="553"/>
                  </a:lnTo>
                  <a:lnTo>
                    <a:pt x="154" y="553"/>
                  </a:lnTo>
                  <a:lnTo>
                    <a:pt x="125" y="536"/>
                  </a:lnTo>
                  <a:lnTo>
                    <a:pt x="97" y="524"/>
                  </a:lnTo>
                  <a:lnTo>
                    <a:pt x="93" y="520"/>
                  </a:lnTo>
                  <a:lnTo>
                    <a:pt x="93" y="516"/>
                  </a:lnTo>
                  <a:lnTo>
                    <a:pt x="93" y="492"/>
                  </a:lnTo>
                  <a:lnTo>
                    <a:pt x="93" y="468"/>
                  </a:lnTo>
                  <a:lnTo>
                    <a:pt x="85" y="436"/>
                  </a:lnTo>
                  <a:lnTo>
                    <a:pt x="77" y="415"/>
                  </a:lnTo>
                  <a:lnTo>
                    <a:pt x="73" y="411"/>
                  </a:lnTo>
                  <a:lnTo>
                    <a:pt x="61" y="407"/>
                  </a:lnTo>
                  <a:lnTo>
                    <a:pt x="57" y="407"/>
                  </a:lnTo>
                  <a:lnTo>
                    <a:pt x="53" y="407"/>
                  </a:lnTo>
                  <a:lnTo>
                    <a:pt x="41" y="411"/>
                  </a:lnTo>
                  <a:lnTo>
                    <a:pt x="37" y="415"/>
                  </a:lnTo>
                  <a:lnTo>
                    <a:pt x="33" y="415"/>
                  </a:lnTo>
                  <a:lnTo>
                    <a:pt x="25" y="415"/>
                  </a:lnTo>
                  <a:lnTo>
                    <a:pt x="8" y="399"/>
                  </a:lnTo>
                  <a:lnTo>
                    <a:pt x="0" y="383"/>
                  </a:lnTo>
                  <a:lnTo>
                    <a:pt x="0" y="375"/>
                  </a:lnTo>
                  <a:lnTo>
                    <a:pt x="0" y="363"/>
                  </a:lnTo>
                  <a:lnTo>
                    <a:pt x="12" y="359"/>
                  </a:lnTo>
                  <a:lnTo>
                    <a:pt x="33" y="359"/>
                  </a:lnTo>
                  <a:lnTo>
                    <a:pt x="37" y="355"/>
                  </a:lnTo>
                  <a:lnTo>
                    <a:pt x="41" y="351"/>
                  </a:lnTo>
                  <a:lnTo>
                    <a:pt x="49" y="347"/>
                  </a:lnTo>
                  <a:lnTo>
                    <a:pt x="49" y="343"/>
                  </a:lnTo>
                  <a:lnTo>
                    <a:pt x="61" y="327"/>
                  </a:lnTo>
                  <a:lnTo>
                    <a:pt x="77" y="323"/>
                  </a:lnTo>
                  <a:lnTo>
                    <a:pt x="81" y="306"/>
                  </a:lnTo>
                  <a:lnTo>
                    <a:pt x="81" y="294"/>
                  </a:lnTo>
                  <a:lnTo>
                    <a:pt x="85" y="290"/>
                  </a:lnTo>
                  <a:lnTo>
                    <a:pt x="89" y="286"/>
                  </a:lnTo>
                  <a:lnTo>
                    <a:pt x="89" y="274"/>
                  </a:lnTo>
                  <a:lnTo>
                    <a:pt x="89" y="266"/>
                  </a:lnTo>
                  <a:lnTo>
                    <a:pt x="85" y="262"/>
                  </a:lnTo>
                  <a:lnTo>
                    <a:pt x="85" y="250"/>
                  </a:lnTo>
                  <a:lnTo>
                    <a:pt x="85" y="246"/>
                  </a:lnTo>
                  <a:lnTo>
                    <a:pt x="97" y="246"/>
                  </a:lnTo>
                  <a:lnTo>
                    <a:pt x="113" y="246"/>
                  </a:lnTo>
                  <a:lnTo>
                    <a:pt x="113" y="250"/>
                  </a:lnTo>
                  <a:lnTo>
                    <a:pt x="117" y="254"/>
                  </a:lnTo>
                  <a:lnTo>
                    <a:pt x="133" y="270"/>
                  </a:lnTo>
                  <a:lnTo>
                    <a:pt x="142" y="294"/>
                  </a:lnTo>
                  <a:lnTo>
                    <a:pt x="150" y="298"/>
                  </a:lnTo>
                  <a:lnTo>
                    <a:pt x="166" y="302"/>
                  </a:lnTo>
                  <a:lnTo>
                    <a:pt x="178" y="302"/>
                  </a:lnTo>
                  <a:lnTo>
                    <a:pt x="190" y="302"/>
                  </a:lnTo>
                  <a:lnTo>
                    <a:pt x="198" y="302"/>
                  </a:lnTo>
                  <a:lnTo>
                    <a:pt x="206" y="302"/>
                  </a:lnTo>
                  <a:lnTo>
                    <a:pt x="210" y="306"/>
                  </a:lnTo>
                  <a:lnTo>
                    <a:pt x="214" y="310"/>
                  </a:lnTo>
                  <a:lnTo>
                    <a:pt x="222" y="327"/>
                  </a:lnTo>
                  <a:lnTo>
                    <a:pt x="222" y="351"/>
                  </a:lnTo>
                  <a:lnTo>
                    <a:pt x="222" y="375"/>
                  </a:lnTo>
                  <a:lnTo>
                    <a:pt x="222" y="399"/>
                  </a:lnTo>
                  <a:lnTo>
                    <a:pt x="226" y="399"/>
                  </a:lnTo>
                  <a:lnTo>
                    <a:pt x="226" y="407"/>
                  </a:lnTo>
                  <a:lnTo>
                    <a:pt x="234" y="415"/>
                  </a:lnTo>
                  <a:lnTo>
                    <a:pt x="246" y="423"/>
                  </a:lnTo>
                  <a:lnTo>
                    <a:pt x="246" y="436"/>
                  </a:lnTo>
                  <a:lnTo>
                    <a:pt x="250" y="436"/>
                  </a:lnTo>
                  <a:lnTo>
                    <a:pt x="271" y="452"/>
                  </a:lnTo>
                  <a:lnTo>
                    <a:pt x="291" y="460"/>
                  </a:lnTo>
                  <a:lnTo>
                    <a:pt x="315" y="464"/>
                  </a:lnTo>
                  <a:lnTo>
                    <a:pt x="343" y="472"/>
                  </a:lnTo>
                  <a:lnTo>
                    <a:pt x="359" y="472"/>
                  </a:lnTo>
                  <a:lnTo>
                    <a:pt x="375" y="472"/>
                  </a:lnTo>
                  <a:lnTo>
                    <a:pt x="388" y="464"/>
                  </a:lnTo>
                  <a:lnTo>
                    <a:pt x="392" y="456"/>
                  </a:lnTo>
                  <a:lnTo>
                    <a:pt x="396" y="452"/>
                  </a:lnTo>
                  <a:lnTo>
                    <a:pt x="400" y="440"/>
                  </a:lnTo>
                  <a:lnTo>
                    <a:pt x="404" y="436"/>
                  </a:lnTo>
                  <a:lnTo>
                    <a:pt x="408" y="436"/>
                  </a:lnTo>
                  <a:lnTo>
                    <a:pt x="420" y="436"/>
                  </a:lnTo>
                  <a:lnTo>
                    <a:pt x="436" y="427"/>
                  </a:lnTo>
                  <a:lnTo>
                    <a:pt x="448" y="423"/>
                  </a:lnTo>
                  <a:lnTo>
                    <a:pt x="456" y="415"/>
                  </a:lnTo>
                  <a:lnTo>
                    <a:pt x="464" y="399"/>
                  </a:lnTo>
                  <a:lnTo>
                    <a:pt x="472" y="391"/>
                  </a:lnTo>
                  <a:lnTo>
                    <a:pt x="472" y="343"/>
                  </a:lnTo>
                  <a:lnTo>
                    <a:pt x="476" y="294"/>
                  </a:lnTo>
                  <a:lnTo>
                    <a:pt x="484" y="266"/>
                  </a:lnTo>
                  <a:lnTo>
                    <a:pt x="488" y="242"/>
                  </a:lnTo>
                  <a:lnTo>
                    <a:pt x="488" y="193"/>
                  </a:lnTo>
                  <a:lnTo>
                    <a:pt x="488" y="157"/>
                  </a:lnTo>
                  <a:lnTo>
                    <a:pt x="501" y="145"/>
                  </a:lnTo>
                  <a:lnTo>
                    <a:pt x="509" y="129"/>
                  </a:lnTo>
                  <a:lnTo>
                    <a:pt x="513" y="101"/>
                  </a:lnTo>
                  <a:lnTo>
                    <a:pt x="513" y="60"/>
                  </a:lnTo>
                  <a:lnTo>
                    <a:pt x="501" y="52"/>
                  </a:lnTo>
                  <a:lnTo>
                    <a:pt x="484" y="44"/>
                  </a:lnTo>
                  <a:lnTo>
                    <a:pt x="480" y="44"/>
                  </a:lnTo>
                  <a:lnTo>
                    <a:pt x="476" y="44"/>
                  </a:lnTo>
                  <a:lnTo>
                    <a:pt x="464" y="48"/>
                  </a:lnTo>
                  <a:lnTo>
                    <a:pt x="460" y="52"/>
                  </a:lnTo>
                  <a:lnTo>
                    <a:pt x="448" y="52"/>
                  </a:lnTo>
                  <a:lnTo>
                    <a:pt x="436" y="56"/>
                  </a:lnTo>
                  <a:lnTo>
                    <a:pt x="436" y="48"/>
                  </a:lnTo>
                  <a:lnTo>
                    <a:pt x="436" y="40"/>
                  </a:lnTo>
                  <a:lnTo>
                    <a:pt x="436" y="32"/>
                  </a:lnTo>
                  <a:lnTo>
                    <a:pt x="440" y="20"/>
                  </a:lnTo>
                  <a:lnTo>
                    <a:pt x="440" y="12"/>
                  </a:lnTo>
                  <a:lnTo>
                    <a:pt x="448" y="4"/>
                  </a:lnTo>
                  <a:lnTo>
                    <a:pt x="464" y="0"/>
                  </a:lnTo>
                  <a:lnTo>
                    <a:pt x="488" y="0"/>
                  </a:lnTo>
                  <a:lnTo>
                    <a:pt x="509" y="12"/>
                  </a:lnTo>
                  <a:lnTo>
                    <a:pt x="517" y="16"/>
                  </a:lnTo>
                  <a:lnTo>
                    <a:pt x="525" y="24"/>
                  </a:lnTo>
                  <a:lnTo>
                    <a:pt x="525" y="36"/>
                  </a:lnTo>
                  <a:lnTo>
                    <a:pt x="533" y="36"/>
                  </a:lnTo>
                  <a:lnTo>
                    <a:pt x="537" y="40"/>
                  </a:lnTo>
                  <a:lnTo>
                    <a:pt x="553" y="40"/>
                  </a:lnTo>
                  <a:lnTo>
                    <a:pt x="577" y="44"/>
                  </a:lnTo>
                  <a:lnTo>
                    <a:pt x="597" y="52"/>
                  </a:lnTo>
                  <a:lnTo>
                    <a:pt x="618" y="64"/>
                  </a:lnTo>
                  <a:lnTo>
                    <a:pt x="622" y="81"/>
                  </a:lnTo>
                  <a:lnTo>
                    <a:pt x="630" y="93"/>
                  </a:lnTo>
                  <a:lnTo>
                    <a:pt x="646" y="101"/>
                  </a:lnTo>
                  <a:lnTo>
                    <a:pt x="654" y="121"/>
                  </a:lnTo>
                  <a:lnTo>
                    <a:pt x="670" y="129"/>
                  </a:lnTo>
                  <a:lnTo>
                    <a:pt x="682" y="137"/>
                  </a:lnTo>
                  <a:lnTo>
                    <a:pt x="686" y="137"/>
                  </a:lnTo>
                  <a:lnTo>
                    <a:pt x="698" y="137"/>
                  </a:lnTo>
                  <a:lnTo>
                    <a:pt x="706" y="137"/>
                  </a:lnTo>
                  <a:lnTo>
                    <a:pt x="722" y="133"/>
                  </a:lnTo>
                  <a:lnTo>
                    <a:pt x="730" y="133"/>
                  </a:lnTo>
                  <a:lnTo>
                    <a:pt x="739" y="133"/>
                  </a:lnTo>
                  <a:lnTo>
                    <a:pt x="755" y="137"/>
                  </a:lnTo>
                  <a:lnTo>
                    <a:pt x="775" y="145"/>
                  </a:lnTo>
                  <a:lnTo>
                    <a:pt x="779" y="157"/>
                  </a:lnTo>
                  <a:lnTo>
                    <a:pt x="783" y="165"/>
                  </a:lnTo>
                  <a:lnTo>
                    <a:pt x="791" y="165"/>
                  </a:lnTo>
                  <a:lnTo>
                    <a:pt x="807" y="165"/>
                  </a:lnTo>
                  <a:lnTo>
                    <a:pt x="815" y="157"/>
                  </a:lnTo>
                  <a:lnTo>
                    <a:pt x="823" y="157"/>
                  </a:lnTo>
                  <a:lnTo>
                    <a:pt x="835" y="141"/>
                  </a:lnTo>
                  <a:lnTo>
                    <a:pt x="839" y="133"/>
                  </a:lnTo>
                  <a:lnTo>
                    <a:pt x="839" y="129"/>
                  </a:lnTo>
                  <a:lnTo>
                    <a:pt x="839" y="121"/>
                  </a:lnTo>
                  <a:lnTo>
                    <a:pt x="823" y="97"/>
                  </a:lnTo>
                  <a:lnTo>
                    <a:pt x="811" y="72"/>
                  </a:lnTo>
                  <a:lnTo>
                    <a:pt x="807" y="68"/>
                  </a:lnTo>
                  <a:lnTo>
                    <a:pt x="795" y="64"/>
                  </a:lnTo>
                  <a:lnTo>
                    <a:pt x="795" y="52"/>
                  </a:lnTo>
                  <a:lnTo>
                    <a:pt x="795" y="48"/>
                  </a:lnTo>
                  <a:lnTo>
                    <a:pt x="807" y="48"/>
                  </a:lnTo>
                  <a:lnTo>
                    <a:pt x="819" y="44"/>
                  </a:lnTo>
                  <a:lnTo>
                    <a:pt x="843" y="56"/>
                  </a:lnTo>
                  <a:lnTo>
                    <a:pt x="868" y="68"/>
                  </a:lnTo>
                  <a:lnTo>
                    <a:pt x="900" y="81"/>
                  </a:lnTo>
                  <a:lnTo>
                    <a:pt x="928" y="89"/>
                  </a:lnTo>
                  <a:lnTo>
                    <a:pt x="932" y="93"/>
                  </a:lnTo>
                  <a:lnTo>
                    <a:pt x="936" y="93"/>
                  </a:lnTo>
                  <a:lnTo>
                    <a:pt x="940" y="109"/>
                  </a:lnTo>
                  <a:lnTo>
                    <a:pt x="956" y="137"/>
                  </a:lnTo>
                  <a:lnTo>
                    <a:pt x="977" y="145"/>
                  </a:lnTo>
                  <a:lnTo>
                    <a:pt x="989" y="157"/>
                  </a:lnTo>
                  <a:lnTo>
                    <a:pt x="1013" y="165"/>
                  </a:lnTo>
                  <a:lnTo>
                    <a:pt x="1029" y="173"/>
                  </a:lnTo>
                  <a:lnTo>
                    <a:pt x="1049" y="202"/>
                  </a:lnTo>
                  <a:lnTo>
                    <a:pt x="1057" y="214"/>
                  </a:lnTo>
                  <a:lnTo>
                    <a:pt x="1057" y="218"/>
                  </a:lnTo>
                  <a:lnTo>
                    <a:pt x="1065" y="218"/>
                  </a:lnTo>
                  <a:lnTo>
                    <a:pt x="1057" y="246"/>
                  </a:lnTo>
                  <a:lnTo>
                    <a:pt x="1057" y="266"/>
                  </a:lnTo>
                  <a:lnTo>
                    <a:pt x="1053" y="282"/>
                  </a:lnTo>
                  <a:lnTo>
                    <a:pt x="1049" y="294"/>
                  </a:lnTo>
                  <a:lnTo>
                    <a:pt x="1041" y="298"/>
                  </a:lnTo>
                  <a:lnTo>
                    <a:pt x="1033" y="306"/>
                  </a:lnTo>
                  <a:lnTo>
                    <a:pt x="1017" y="310"/>
                  </a:lnTo>
                  <a:lnTo>
                    <a:pt x="1005" y="315"/>
                  </a:lnTo>
                  <a:lnTo>
                    <a:pt x="1001" y="323"/>
                  </a:lnTo>
                  <a:lnTo>
                    <a:pt x="989" y="351"/>
                  </a:lnTo>
                  <a:lnTo>
                    <a:pt x="985" y="391"/>
                  </a:lnTo>
                  <a:lnTo>
                    <a:pt x="977" y="399"/>
                  </a:lnTo>
                  <a:lnTo>
                    <a:pt x="960" y="399"/>
                  </a:lnTo>
                  <a:lnTo>
                    <a:pt x="940" y="407"/>
                  </a:lnTo>
                  <a:lnTo>
                    <a:pt x="924" y="411"/>
                  </a:lnTo>
                  <a:lnTo>
                    <a:pt x="920" y="415"/>
                  </a:lnTo>
                  <a:lnTo>
                    <a:pt x="904" y="419"/>
                  </a:lnTo>
                  <a:lnTo>
                    <a:pt x="856" y="423"/>
                  </a:lnTo>
                  <a:lnTo>
                    <a:pt x="811" y="427"/>
                  </a:lnTo>
                  <a:lnTo>
                    <a:pt x="783" y="427"/>
                  </a:lnTo>
                  <a:lnTo>
                    <a:pt x="755" y="427"/>
                  </a:lnTo>
                  <a:lnTo>
                    <a:pt x="718" y="436"/>
                  </a:lnTo>
                  <a:lnTo>
                    <a:pt x="674" y="436"/>
                  </a:lnTo>
                  <a:lnTo>
                    <a:pt x="654" y="448"/>
                  </a:lnTo>
                  <a:lnTo>
                    <a:pt x="634" y="452"/>
                  </a:lnTo>
                  <a:lnTo>
                    <a:pt x="630" y="460"/>
                  </a:lnTo>
                  <a:lnTo>
                    <a:pt x="622" y="472"/>
                  </a:lnTo>
                  <a:lnTo>
                    <a:pt x="601" y="484"/>
                  </a:lnTo>
                  <a:lnTo>
                    <a:pt x="589" y="492"/>
                  </a:lnTo>
                  <a:lnTo>
                    <a:pt x="577" y="504"/>
                  </a:lnTo>
                  <a:lnTo>
                    <a:pt x="561" y="520"/>
                  </a:lnTo>
                  <a:lnTo>
                    <a:pt x="553" y="540"/>
                  </a:lnTo>
                  <a:lnTo>
                    <a:pt x="553" y="553"/>
                  </a:lnTo>
                  <a:lnTo>
                    <a:pt x="553" y="589"/>
                  </a:lnTo>
                  <a:lnTo>
                    <a:pt x="553" y="629"/>
                  </a:lnTo>
                  <a:lnTo>
                    <a:pt x="553" y="653"/>
                  </a:lnTo>
                  <a:lnTo>
                    <a:pt x="553" y="674"/>
                  </a:lnTo>
                  <a:lnTo>
                    <a:pt x="561" y="678"/>
                  </a:lnTo>
                  <a:lnTo>
                    <a:pt x="565" y="682"/>
                  </a:lnTo>
                  <a:lnTo>
                    <a:pt x="565" y="690"/>
                  </a:lnTo>
                  <a:lnTo>
                    <a:pt x="565" y="694"/>
                  </a:lnTo>
                  <a:lnTo>
                    <a:pt x="561" y="706"/>
                  </a:lnTo>
                  <a:lnTo>
                    <a:pt x="553" y="718"/>
                  </a:lnTo>
                  <a:lnTo>
                    <a:pt x="549" y="722"/>
                  </a:lnTo>
                  <a:lnTo>
                    <a:pt x="533" y="730"/>
                  </a:lnTo>
                  <a:lnTo>
                    <a:pt x="517" y="730"/>
                  </a:lnTo>
                  <a:lnTo>
                    <a:pt x="517" y="734"/>
                  </a:lnTo>
                  <a:lnTo>
                    <a:pt x="513" y="738"/>
                  </a:lnTo>
                  <a:lnTo>
                    <a:pt x="505" y="738"/>
                  </a:lnTo>
                  <a:lnTo>
                    <a:pt x="492" y="742"/>
                  </a:lnTo>
                  <a:lnTo>
                    <a:pt x="484" y="746"/>
                  </a:lnTo>
                  <a:lnTo>
                    <a:pt x="456" y="758"/>
                  </a:lnTo>
                  <a:lnTo>
                    <a:pt x="448" y="758"/>
                  </a:lnTo>
                  <a:lnTo>
                    <a:pt x="436" y="758"/>
                  </a:lnTo>
                  <a:lnTo>
                    <a:pt x="424" y="746"/>
                  </a:lnTo>
                  <a:lnTo>
                    <a:pt x="408" y="738"/>
                  </a:lnTo>
                  <a:lnTo>
                    <a:pt x="408" y="730"/>
                  </a:lnTo>
                  <a:lnTo>
                    <a:pt x="408" y="718"/>
                  </a:lnTo>
                  <a:lnTo>
                    <a:pt x="412" y="718"/>
                  </a:lnTo>
                  <a:lnTo>
                    <a:pt x="412" y="694"/>
                  </a:lnTo>
                  <a:lnTo>
                    <a:pt x="420" y="670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42" name="Freeform 50"/>
            <p:cNvSpPr>
              <a:spLocks/>
            </p:cNvSpPr>
            <p:nvPr/>
          </p:nvSpPr>
          <p:spPr bwMode="auto">
            <a:xfrm>
              <a:off x="2857584" y="2574869"/>
              <a:ext cx="1062037" cy="742597"/>
            </a:xfrm>
            <a:custGeom>
              <a:avLst/>
              <a:gdLst>
                <a:gd name="T0" fmla="*/ 273680285 w 1182"/>
                <a:gd name="T1" fmla="*/ 614902603 h 835"/>
                <a:gd name="T2" fmla="*/ 228470896 w 1182"/>
                <a:gd name="T3" fmla="*/ 596705707 h 835"/>
                <a:gd name="T4" fmla="*/ 192141518 w 1182"/>
                <a:gd name="T5" fmla="*/ 562586307 h 835"/>
                <a:gd name="T6" fmla="*/ 146932185 w 1182"/>
                <a:gd name="T7" fmla="*/ 523160568 h 835"/>
                <a:gd name="T8" fmla="*/ 124326620 w 1182"/>
                <a:gd name="T9" fmla="*/ 482975536 h 835"/>
                <a:gd name="T10" fmla="*/ 81538739 w 1182"/>
                <a:gd name="T11" fmla="*/ 434450369 h 835"/>
                <a:gd name="T12" fmla="*/ 42787868 w 1182"/>
                <a:gd name="T13" fmla="*/ 394265337 h 835"/>
                <a:gd name="T14" fmla="*/ 10495476 w 1182"/>
                <a:gd name="T15" fmla="*/ 366969992 h 835"/>
                <a:gd name="T16" fmla="*/ 23412432 w 1182"/>
                <a:gd name="T17" fmla="*/ 330576198 h 835"/>
                <a:gd name="T18" fmla="*/ 62163310 w 1182"/>
                <a:gd name="T19" fmla="*/ 308588934 h 835"/>
                <a:gd name="T20" fmla="*/ 65392548 w 1182"/>
                <a:gd name="T21" fmla="*/ 260063876 h 835"/>
                <a:gd name="T22" fmla="*/ 75080263 w 1182"/>
                <a:gd name="T23" fmla="*/ 216845974 h 835"/>
                <a:gd name="T24" fmla="*/ 94455691 w 1182"/>
                <a:gd name="T25" fmla="*/ 183484996 h 835"/>
                <a:gd name="T26" fmla="*/ 124326620 w 1182"/>
                <a:gd name="T27" fmla="*/ 171353731 h 835"/>
                <a:gd name="T28" fmla="*/ 231700134 w 1182"/>
                <a:gd name="T29" fmla="*/ 147091202 h 835"/>
                <a:gd name="T30" fmla="*/ 273680285 w 1182"/>
                <a:gd name="T31" fmla="*/ 134201516 h 835"/>
                <a:gd name="T32" fmla="*/ 293863472 w 1182"/>
                <a:gd name="T33" fmla="*/ 150124018 h 835"/>
                <a:gd name="T34" fmla="*/ 332614329 w 1182"/>
                <a:gd name="T35" fmla="*/ 153156835 h 835"/>
                <a:gd name="T36" fmla="*/ 374595323 w 1182"/>
                <a:gd name="T37" fmla="*/ 122071122 h 835"/>
                <a:gd name="T38" fmla="*/ 385089897 w 1182"/>
                <a:gd name="T39" fmla="*/ 91742933 h 835"/>
                <a:gd name="T40" fmla="*/ 404466224 w 1182"/>
                <a:gd name="T41" fmla="*/ 64447588 h 835"/>
                <a:gd name="T42" fmla="*/ 469050986 w 1182"/>
                <a:gd name="T43" fmla="*/ 70513220 h 835"/>
                <a:gd name="T44" fmla="*/ 508609714 w 1182"/>
                <a:gd name="T45" fmla="*/ 70513220 h 835"/>
                <a:gd name="T46" fmla="*/ 540902993 w 1182"/>
                <a:gd name="T47" fmla="*/ 27295352 h 835"/>
                <a:gd name="T48" fmla="*/ 586920085 w 1182"/>
                <a:gd name="T49" fmla="*/ 6065634 h 835"/>
                <a:gd name="T50" fmla="*/ 625670941 w 1182"/>
                <a:gd name="T51" fmla="*/ 6065634 h 835"/>
                <a:gd name="T52" fmla="*/ 657963322 w 1182"/>
                <a:gd name="T53" fmla="*/ 42459440 h 835"/>
                <a:gd name="T54" fmla="*/ 736273693 w 1182"/>
                <a:gd name="T55" fmla="*/ 82644485 h 835"/>
                <a:gd name="T56" fmla="*/ 785520023 w 1182"/>
                <a:gd name="T57" fmla="*/ 116005490 h 835"/>
                <a:gd name="T58" fmla="*/ 801666213 w 1182"/>
                <a:gd name="T59" fmla="*/ 137234332 h 835"/>
                <a:gd name="T60" fmla="*/ 814583166 w 1182"/>
                <a:gd name="T61" fmla="*/ 150124018 h 835"/>
                <a:gd name="T62" fmla="*/ 843646308 w 1182"/>
                <a:gd name="T63" fmla="*/ 189550628 h 835"/>
                <a:gd name="T64" fmla="*/ 879975686 w 1182"/>
                <a:gd name="T65" fmla="*/ 238834163 h 835"/>
                <a:gd name="T66" fmla="*/ 902580352 w 1182"/>
                <a:gd name="T67" fmla="*/ 272195141 h 835"/>
                <a:gd name="T68" fmla="*/ 941332108 w 1182"/>
                <a:gd name="T69" fmla="*/ 287359221 h 835"/>
                <a:gd name="T70" fmla="*/ 954249285 w 1182"/>
                <a:gd name="T71" fmla="*/ 308588934 h 835"/>
                <a:gd name="T72" fmla="*/ 941332108 w 1182"/>
                <a:gd name="T73" fmla="*/ 333609015 h 835"/>
                <a:gd name="T74" fmla="*/ 918727441 w 1182"/>
                <a:gd name="T75" fmla="*/ 354838728 h 835"/>
                <a:gd name="T76" fmla="*/ 899351114 w 1182"/>
                <a:gd name="T77" fmla="*/ 409429418 h 835"/>
                <a:gd name="T78" fmla="*/ 876746448 w 1182"/>
                <a:gd name="T79" fmla="*/ 452647266 h 835"/>
                <a:gd name="T80" fmla="*/ 876746448 w 1182"/>
                <a:gd name="T81" fmla="*/ 501930855 h 835"/>
                <a:gd name="T82" fmla="*/ 879975686 w 1182"/>
                <a:gd name="T83" fmla="*/ 529225330 h 835"/>
                <a:gd name="T84" fmla="*/ 867058734 w 1182"/>
                <a:gd name="T85" fmla="*/ 541356594 h 835"/>
                <a:gd name="T86" fmla="*/ 840417070 w 1182"/>
                <a:gd name="T87" fmla="*/ 562586307 h 835"/>
                <a:gd name="T88" fmla="*/ 801666213 w 1182"/>
                <a:gd name="T89" fmla="*/ 559553491 h 835"/>
                <a:gd name="T90" fmla="*/ 785520023 w 1182"/>
                <a:gd name="T91" fmla="*/ 556520675 h 835"/>
                <a:gd name="T92" fmla="*/ 765336836 w 1182"/>
                <a:gd name="T93" fmla="*/ 541356594 h 835"/>
                <a:gd name="T94" fmla="*/ 726585080 w 1182"/>
                <a:gd name="T95" fmla="*/ 526192513 h 835"/>
                <a:gd name="T96" fmla="*/ 678146509 w 1182"/>
                <a:gd name="T97" fmla="*/ 511029303 h 835"/>
                <a:gd name="T98" fmla="*/ 641817132 w 1182"/>
                <a:gd name="T99" fmla="*/ 526192513 h 835"/>
                <a:gd name="T100" fmla="*/ 615983227 w 1182"/>
                <a:gd name="T101" fmla="*/ 556520675 h 835"/>
                <a:gd name="T102" fmla="*/ 596607799 w 1182"/>
                <a:gd name="T103" fmla="*/ 577750388 h 835"/>
                <a:gd name="T104" fmla="*/ 577232370 w 1182"/>
                <a:gd name="T105" fmla="*/ 596705707 h 835"/>
                <a:gd name="T106" fmla="*/ 553819945 w 1182"/>
                <a:gd name="T107" fmla="*/ 586848836 h 835"/>
                <a:gd name="T108" fmla="*/ 534444517 w 1182"/>
                <a:gd name="T109" fmla="*/ 568651940 h 835"/>
                <a:gd name="T110" fmla="*/ 498921999 w 1182"/>
                <a:gd name="T111" fmla="*/ 580783204 h 835"/>
                <a:gd name="T112" fmla="*/ 486005047 w 1182"/>
                <a:gd name="T113" fmla="*/ 596705707 h 835"/>
                <a:gd name="T114" fmla="*/ 404466224 w 1182"/>
                <a:gd name="T115" fmla="*/ 614902603 h 835"/>
                <a:gd name="T116" fmla="*/ 355219894 w 1182"/>
                <a:gd name="T117" fmla="*/ 633099500 h 83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82"/>
                <a:gd name="T178" fmla="*/ 0 h 835"/>
                <a:gd name="T179" fmla="*/ 1182 w 1182"/>
                <a:gd name="T180" fmla="*/ 835 h 83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82" h="835">
                  <a:moveTo>
                    <a:pt x="396" y="835"/>
                  </a:moveTo>
                  <a:lnTo>
                    <a:pt x="372" y="827"/>
                  </a:lnTo>
                  <a:lnTo>
                    <a:pt x="347" y="811"/>
                  </a:lnTo>
                  <a:lnTo>
                    <a:pt x="339" y="811"/>
                  </a:lnTo>
                  <a:lnTo>
                    <a:pt x="335" y="807"/>
                  </a:lnTo>
                  <a:lnTo>
                    <a:pt x="315" y="791"/>
                  </a:lnTo>
                  <a:lnTo>
                    <a:pt x="295" y="787"/>
                  </a:lnTo>
                  <a:lnTo>
                    <a:pt x="283" y="787"/>
                  </a:lnTo>
                  <a:lnTo>
                    <a:pt x="275" y="787"/>
                  </a:lnTo>
                  <a:lnTo>
                    <a:pt x="259" y="766"/>
                  </a:lnTo>
                  <a:lnTo>
                    <a:pt x="243" y="750"/>
                  </a:lnTo>
                  <a:lnTo>
                    <a:pt x="238" y="742"/>
                  </a:lnTo>
                  <a:lnTo>
                    <a:pt x="230" y="742"/>
                  </a:lnTo>
                  <a:lnTo>
                    <a:pt x="206" y="722"/>
                  </a:lnTo>
                  <a:lnTo>
                    <a:pt x="190" y="714"/>
                  </a:lnTo>
                  <a:lnTo>
                    <a:pt x="182" y="690"/>
                  </a:lnTo>
                  <a:lnTo>
                    <a:pt x="170" y="674"/>
                  </a:lnTo>
                  <a:lnTo>
                    <a:pt x="166" y="653"/>
                  </a:lnTo>
                  <a:lnTo>
                    <a:pt x="154" y="641"/>
                  </a:lnTo>
                  <a:lnTo>
                    <a:pt x="154" y="637"/>
                  </a:lnTo>
                  <a:lnTo>
                    <a:pt x="146" y="633"/>
                  </a:lnTo>
                  <a:lnTo>
                    <a:pt x="138" y="617"/>
                  </a:lnTo>
                  <a:lnTo>
                    <a:pt x="130" y="605"/>
                  </a:lnTo>
                  <a:lnTo>
                    <a:pt x="101" y="573"/>
                  </a:lnTo>
                  <a:lnTo>
                    <a:pt x="73" y="545"/>
                  </a:lnTo>
                  <a:lnTo>
                    <a:pt x="69" y="532"/>
                  </a:lnTo>
                  <a:lnTo>
                    <a:pt x="57" y="528"/>
                  </a:lnTo>
                  <a:lnTo>
                    <a:pt x="53" y="520"/>
                  </a:lnTo>
                  <a:lnTo>
                    <a:pt x="49" y="508"/>
                  </a:lnTo>
                  <a:lnTo>
                    <a:pt x="29" y="504"/>
                  </a:lnTo>
                  <a:lnTo>
                    <a:pt x="17" y="492"/>
                  </a:lnTo>
                  <a:lnTo>
                    <a:pt x="13" y="484"/>
                  </a:lnTo>
                  <a:lnTo>
                    <a:pt x="9" y="476"/>
                  </a:lnTo>
                  <a:lnTo>
                    <a:pt x="9" y="456"/>
                  </a:lnTo>
                  <a:lnTo>
                    <a:pt x="0" y="444"/>
                  </a:lnTo>
                  <a:lnTo>
                    <a:pt x="29" y="436"/>
                  </a:lnTo>
                  <a:lnTo>
                    <a:pt x="53" y="432"/>
                  </a:lnTo>
                  <a:lnTo>
                    <a:pt x="65" y="419"/>
                  </a:lnTo>
                  <a:lnTo>
                    <a:pt x="77" y="411"/>
                  </a:lnTo>
                  <a:lnTo>
                    <a:pt x="77" y="407"/>
                  </a:lnTo>
                  <a:lnTo>
                    <a:pt x="81" y="403"/>
                  </a:lnTo>
                  <a:lnTo>
                    <a:pt x="81" y="395"/>
                  </a:lnTo>
                  <a:lnTo>
                    <a:pt x="89" y="383"/>
                  </a:lnTo>
                  <a:lnTo>
                    <a:pt x="81" y="343"/>
                  </a:lnTo>
                  <a:lnTo>
                    <a:pt x="81" y="306"/>
                  </a:lnTo>
                  <a:lnTo>
                    <a:pt x="89" y="298"/>
                  </a:lnTo>
                  <a:lnTo>
                    <a:pt x="93" y="290"/>
                  </a:lnTo>
                  <a:lnTo>
                    <a:pt x="93" y="286"/>
                  </a:lnTo>
                  <a:lnTo>
                    <a:pt x="101" y="286"/>
                  </a:lnTo>
                  <a:lnTo>
                    <a:pt x="109" y="266"/>
                  </a:lnTo>
                  <a:lnTo>
                    <a:pt x="117" y="250"/>
                  </a:lnTo>
                  <a:lnTo>
                    <a:pt x="117" y="242"/>
                  </a:lnTo>
                  <a:lnTo>
                    <a:pt x="126" y="238"/>
                  </a:lnTo>
                  <a:lnTo>
                    <a:pt x="130" y="234"/>
                  </a:lnTo>
                  <a:lnTo>
                    <a:pt x="142" y="234"/>
                  </a:lnTo>
                  <a:lnTo>
                    <a:pt x="154" y="226"/>
                  </a:lnTo>
                  <a:lnTo>
                    <a:pt x="166" y="214"/>
                  </a:lnTo>
                  <a:lnTo>
                    <a:pt x="214" y="214"/>
                  </a:lnTo>
                  <a:lnTo>
                    <a:pt x="267" y="206"/>
                  </a:lnTo>
                  <a:lnTo>
                    <a:pt x="287" y="194"/>
                  </a:lnTo>
                  <a:lnTo>
                    <a:pt x="307" y="177"/>
                  </a:lnTo>
                  <a:lnTo>
                    <a:pt x="323" y="177"/>
                  </a:lnTo>
                  <a:lnTo>
                    <a:pt x="339" y="169"/>
                  </a:lnTo>
                  <a:lnTo>
                    <a:pt x="339" y="177"/>
                  </a:lnTo>
                  <a:lnTo>
                    <a:pt x="339" y="185"/>
                  </a:lnTo>
                  <a:lnTo>
                    <a:pt x="347" y="189"/>
                  </a:lnTo>
                  <a:lnTo>
                    <a:pt x="351" y="194"/>
                  </a:lnTo>
                  <a:lnTo>
                    <a:pt x="364" y="198"/>
                  </a:lnTo>
                  <a:lnTo>
                    <a:pt x="384" y="206"/>
                  </a:lnTo>
                  <a:lnTo>
                    <a:pt x="392" y="206"/>
                  </a:lnTo>
                  <a:lnTo>
                    <a:pt x="400" y="206"/>
                  </a:lnTo>
                  <a:lnTo>
                    <a:pt x="412" y="202"/>
                  </a:lnTo>
                  <a:lnTo>
                    <a:pt x="428" y="198"/>
                  </a:lnTo>
                  <a:lnTo>
                    <a:pt x="444" y="185"/>
                  </a:lnTo>
                  <a:lnTo>
                    <a:pt x="460" y="169"/>
                  </a:lnTo>
                  <a:lnTo>
                    <a:pt x="464" y="161"/>
                  </a:lnTo>
                  <a:lnTo>
                    <a:pt x="464" y="149"/>
                  </a:lnTo>
                  <a:lnTo>
                    <a:pt x="468" y="145"/>
                  </a:lnTo>
                  <a:lnTo>
                    <a:pt x="472" y="141"/>
                  </a:lnTo>
                  <a:lnTo>
                    <a:pt x="477" y="121"/>
                  </a:lnTo>
                  <a:lnTo>
                    <a:pt x="481" y="97"/>
                  </a:lnTo>
                  <a:lnTo>
                    <a:pt x="481" y="93"/>
                  </a:lnTo>
                  <a:lnTo>
                    <a:pt x="489" y="93"/>
                  </a:lnTo>
                  <a:lnTo>
                    <a:pt x="501" y="85"/>
                  </a:lnTo>
                  <a:lnTo>
                    <a:pt x="521" y="85"/>
                  </a:lnTo>
                  <a:lnTo>
                    <a:pt x="541" y="85"/>
                  </a:lnTo>
                  <a:lnTo>
                    <a:pt x="569" y="85"/>
                  </a:lnTo>
                  <a:lnTo>
                    <a:pt x="581" y="93"/>
                  </a:lnTo>
                  <a:lnTo>
                    <a:pt x="602" y="101"/>
                  </a:lnTo>
                  <a:lnTo>
                    <a:pt x="610" y="101"/>
                  </a:lnTo>
                  <a:lnTo>
                    <a:pt x="618" y="101"/>
                  </a:lnTo>
                  <a:lnTo>
                    <a:pt x="630" y="93"/>
                  </a:lnTo>
                  <a:lnTo>
                    <a:pt x="642" y="81"/>
                  </a:lnTo>
                  <a:lnTo>
                    <a:pt x="650" y="64"/>
                  </a:lnTo>
                  <a:lnTo>
                    <a:pt x="654" y="48"/>
                  </a:lnTo>
                  <a:lnTo>
                    <a:pt x="670" y="36"/>
                  </a:lnTo>
                  <a:lnTo>
                    <a:pt x="698" y="32"/>
                  </a:lnTo>
                  <a:lnTo>
                    <a:pt x="706" y="24"/>
                  </a:lnTo>
                  <a:lnTo>
                    <a:pt x="715" y="8"/>
                  </a:lnTo>
                  <a:lnTo>
                    <a:pt x="727" y="8"/>
                  </a:lnTo>
                  <a:lnTo>
                    <a:pt x="735" y="0"/>
                  </a:lnTo>
                  <a:lnTo>
                    <a:pt x="751" y="0"/>
                  </a:lnTo>
                  <a:lnTo>
                    <a:pt x="771" y="0"/>
                  </a:lnTo>
                  <a:lnTo>
                    <a:pt x="775" y="8"/>
                  </a:lnTo>
                  <a:lnTo>
                    <a:pt x="783" y="16"/>
                  </a:lnTo>
                  <a:lnTo>
                    <a:pt x="791" y="28"/>
                  </a:lnTo>
                  <a:lnTo>
                    <a:pt x="799" y="44"/>
                  </a:lnTo>
                  <a:lnTo>
                    <a:pt x="815" y="56"/>
                  </a:lnTo>
                  <a:lnTo>
                    <a:pt x="832" y="68"/>
                  </a:lnTo>
                  <a:lnTo>
                    <a:pt x="848" y="81"/>
                  </a:lnTo>
                  <a:lnTo>
                    <a:pt x="900" y="101"/>
                  </a:lnTo>
                  <a:lnTo>
                    <a:pt x="912" y="109"/>
                  </a:lnTo>
                  <a:lnTo>
                    <a:pt x="920" y="121"/>
                  </a:lnTo>
                  <a:lnTo>
                    <a:pt x="928" y="129"/>
                  </a:lnTo>
                  <a:lnTo>
                    <a:pt x="957" y="145"/>
                  </a:lnTo>
                  <a:lnTo>
                    <a:pt x="973" y="153"/>
                  </a:lnTo>
                  <a:lnTo>
                    <a:pt x="985" y="165"/>
                  </a:lnTo>
                  <a:lnTo>
                    <a:pt x="985" y="177"/>
                  </a:lnTo>
                  <a:lnTo>
                    <a:pt x="985" y="181"/>
                  </a:lnTo>
                  <a:lnTo>
                    <a:pt x="993" y="181"/>
                  </a:lnTo>
                  <a:lnTo>
                    <a:pt x="1001" y="181"/>
                  </a:lnTo>
                  <a:lnTo>
                    <a:pt x="1005" y="185"/>
                  </a:lnTo>
                  <a:lnTo>
                    <a:pt x="1009" y="189"/>
                  </a:lnTo>
                  <a:lnTo>
                    <a:pt x="1009" y="198"/>
                  </a:lnTo>
                  <a:lnTo>
                    <a:pt x="1017" y="206"/>
                  </a:lnTo>
                  <a:lnTo>
                    <a:pt x="1021" y="218"/>
                  </a:lnTo>
                  <a:lnTo>
                    <a:pt x="1037" y="230"/>
                  </a:lnTo>
                  <a:lnTo>
                    <a:pt x="1045" y="250"/>
                  </a:lnTo>
                  <a:lnTo>
                    <a:pt x="1053" y="266"/>
                  </a:lnTo>
                  <a:lnTo>
                    <a:pt x="1070" y="286"/>
                  </a:lnTo>
                  <a:lnTo>
                    <a:pt x="1086" y="302"/>
                  </a:lnTo>
                  <a:lnTo>
                    <a:pt x="1090" y="315"/>
                  </a:lnTo>
                  <a:lnTo>
                    <a:pt x="1094" y="335"/>
                  </a:lnTo>
                  <a:lnTo>
                    <a:pt x="1102" y="339"/>
                  </a:lnTo>
                  <a:lnTo>
                    <a:pt x="1114" y="347"/>
                  </a:lnTo>
                  <a:lnTo>
                    <a:pt x="1118" y="359"/>
                  </a:lnTo>
                  <a:lnTo>
                    <a:pt x="1122" y="367"/>
                  </a:lnTo>
                  <a:lnTo>
                    <a:pt x="1138" y="375"/>
                  </a:lnTo>
                  <a:lnTo>
                    <a:pt x="1162" y="375"/>
                  </a:lnTo>
                  <a:lnTo>
                    <a:pt x="1166" y="379"/>
                  </a:lnTo>
                  <a:lnTo>
                    <a:pt x="1174" y="383"/>
                  </a:lnTo>
                  <a:lnTo>
                    <a:pt x="1178" y="387"/>
                  </a:lnTo>
                  <a:lnTo>
                    <a:pt x="1182" y="395"/>
                  </a:lnTo>
                  <a:lnTo>
                    <a:pt x="1182" y="407"/>
                  </a:lnTo>
                  <a:lnTo>
                    <a:pt x="1182" y="419"/>
                  </a:lnTo>
                  <a:lnTo>
                    <a:pt x="1178" y="432"/>
                  </a:lnTo>
                  <a:lnTo>
                    <a:pt x="1170" y="436"/>
                  </a:lnTo>
                  <a:lnTo>
                    <a:pt x="1166" y="440"/>
                  </a:lnTo>
                  <a:lnTo>
                    <a:pt x="1162" y="440"/>
                  </a:lnTo>
                  <a:lnTo>
                    <a:pt x="1150" y="448"/>
                  </a:lnTo>
                  <a:lnTo>
                    <a:pt x="1150" y="456"/>
                  </a:lnTo>
                  <a:lnTo>
                    <a:pt x="1138" y="468"/>
                  </a:lnTo>
                  <a:lnTo>
                    <a:pt x="1134" y="472"/>
                  </a:lnTo>
                  <a:lnTo>
                    <a:pt x="1134" y="492"/>
                  </a:lnTo>
                  <a:lnTo>
                    <a:pt x="1130" y="520"/>
                  </a:lnTo>
                  <a:lnTo>
                    <a:pt x="1114" y="540"/>
                  </a:lnTo>
                  <a:lnTo>
                    <a:pt x="1094" y="561"/>
                  </a:lnTo>
                  <a:lnTo>
                    <a:pt x="1090" y="573"/>
                  </a:lnTo>
                  <a:lnTo>
                    <a:pt x="1086" y="589"/>
                  </a:lnTo>
                  <a:lnTo>
                    <a:pt x="1086" y="597"/>
                  </a:lnTo>
                  <a:lnTo>
                    <a:pt x="1086" y="605"/>
                  </a:lnTo>
                  <a:lnTo>
                    <a:pt x="1086" y="625"/>
                  </a:lnTo>
                  <a:lnTo>
                    <a:pt x="1086" y="645"/>
                  </a:lnTo>
                  <a:lnTo>
                    <a:pt x="1086" y="662"/>
                  </a:lnTo>
                  <a:lnTo>
                    <a:pt x="1086" y="682"/>
                  </a:lnTo>
                  <a:lnTo>
                    <a:pt x="1090" y="682"/>
                  </a:lnTo>
                  <a:lnTo>
                    <a:pt x="1090" y="690"/>
                  </a:lnTo>
                  <a:lnTo>
                    <a:pt x="1090" y="698"/>
                  </a:lnTo>
                  <a:lnTo>
                    <a:pt x="1090" y="702"/>
                  </a:lnTo>
                  <a:lnTo>
                    <a:pt x="1086" y="714"/>
                  </a:lnTo>
                  <a:lnTo>
                    <a:pt x="1082" y="714"/>
                  </a:lnTo>
                  <a:lnTo>
                    <a:pt x="1074" y="714"/>
                  </a:lnTo>
                  <a:lnTo>
                    <a:pt x="1070" y="726"/>
                  </a:lnTo>
                  <a:lnTo>
                    <a:pt x="1065" y="730"/>
                  </a:lnTo>
                  <a:lnTo>
                    <a:pt x="1045" y="738"/>
                  </a:lnTo>
                  <a:lnTo>
                    <a:pt x="1041" y="742"/>
                  </a:lnTo>
                  <a:lnTo>
                    <a:pt x="1033" y="742"/>
                  </a:lnTo>
                  <a:lnTo>
                    <a:pt x="1017" y="742"/>
                  </a:lnTo>
                  <a:lnTo>
                    <a:pt x="1009" y="738"/>
                  </a:lnTo>
                  <a:lnTo>
                    <a:pt x="993" y="738"/>
                  </a:lnTo>
                  <a:lnTo>
                    <a:pt x="989" y="742"/>
                  </a:lnTo>
                  <a:lnTo>
                    <a:pt x="985" y="742"/>
                  </a:lnTo>
                  <a:lnTo>
                    <a:pt x="981" y="738"/>
                  </a:lnTo>
                  <a:lnTo>
                    <a:pt x="973" y="734"/>
                  </a:lnTo>
                  <a:lnTo>
                    <a:pt x="969" y="726"/>
                  </a:lnTo>
                  <a:lnTo>
                    <a:pt x="965" y="726"/>
                  </a:lnTo>
                  <a:lnTo>
                    <a:pt x="953" y="722"/>
                  </a:lnTo>
                  <a:lnTo>
                    <a:pt x="948" y="714"/>
                  </a:lnTo>
                  <a:lnTo>
                    <a:pt x="940" y="702"/>
                  </a:lnTo>
                  <a:lnTo>
                    <a:pt x="928" y="698"/>
                  </a:lnTo>
                  <a:lnTo>
                    <a:pt x="900" y="698"/>
                  </a:lnTo>
                  <a:lnTo>
                    <a:pt x="900" y="694"/>
                  </a:lnTo>
                  <a:lnTo>
                    <a:pt x="900" y="686"/>
                  </a:lnTo>
                  <a:lnTo>
                    <a:pt x="880" y="686"/>
                  </a:lnTo>
                  <a:lnTo>
                    <a:pt x="860" y="674"/>
                  </a:lnTo>
                  <a:lnTo>
                    <a:pt x="840" y="674"/>
                  </a:lnTo>
                  <a:lnTo>
                    <a:pt x="823" y="674"/>
                  </a:lnTo>
                  <a:lnTo>
                    <a:pt x="811" y="682"/>
                  </a:lnTo>
                  <a:lnTo>
                    <a:pt x="799" y="690"/>
                  </a:lnTo>
                  <a:lnTo>
                    <a:pt x="795" y="694"/>
                  </a:lnTo>
                  <a:lnTo>
                    <a:pt x="791" y="702"/>
                  </a:lnTo>
                  <a:lnTo>
                    <a:pt x="783" y="714"/>
                  </a:lnTo>
                  <a:lnTo>
                    <a:pt x="771" y="726"/>
                  </a:lnTo>
                  <a:lnTo>
                    <a:pt x="763" y="734"/>
                  </a:lnTo>
                  <a:lnTo>
                    <a:pt x="759" y="738"/>
                  </a:lnTo>
                  <a:lnTo>
                    <a:pt x="755" y="738"/>
                  </a:lnTo>
                  <a:lnTo>
                    <a:pt x="747" y="738"/>
                  </a:lnTo>
                  <a:lnTo>
                    <a:pt x="739" y="762"/>
                  </a:lnTo>
                  <a:lnTo>
                    <a:pt x="731" y="779"/>
                  </a:lnTo>
                  <a:lnTo>
                    <a:pt x="723" y="787"/>
                  </a:lnTo>
                  <a:lnTo>
                    <a:pt x="715" y="791"/>
                  </a:lnTo>
                  <a:lnTo>
                    <a:pt x="715" y="787"/>
                  </a:lnTo>
                  <a:lnTo>
                    <a:pt x="706" y="787"/>
                  </a:lnTo>
                  <a:lnTo>
                    <a:pt x="698" y="787"/>
                  </a:lnTo>
                  <a:lnTo>
                    <a:pt x="686" y="779"/>
                  </a:lnTo>
                  <a:lnTo>
                    <a:pt x="686" y="774"/>
                  </a:lnTo>
                  <a:lnTo>
                    <a:pt x="686" y="770"/>
                  </a:lnTo>
                  <a:lnTo>
                    <a:pt x="682" y="762"/>
                  </a:lnTo>
                  <a:lnTo>
                    <a:pt x="670" y="750"/>
                  </a:lnTo>
                  <a:lnTo>
                    <a:pt x="662" y="750"/>
                  </a:lnTo>
                  <a:lnTo>
                    <a:pt x="646" y="742"/>
                  </a:lnTo>
                  <a:lnTo>
                    <a:pt x="630" y="742"/>
                  </a:lnTo>
                  <a:lnTo>
                    <a:pt x="622" y="750"/>
                  </a:lnTo>
                  <a:lnTo>
                    <a:pt x="618" y="766"/>
                  </a:lnTo>
                  <a:lnTo>
                    <a:pt x="614" y="770"/>
                  </a:lnTo>
                  <a:lnTo>
                    <a:pt x="606" y="774"/>
                  </a:lnTo>
                  <a:lnTo>
                    <a:pt x="606" y="787"/>
                  </a:lnTo>
                  <a:lnTo>
                    <a:pt x="602" y="787"/>
                  </a:lnTo>
                  <a:lnTo>
                    <a:pt x="569" y="791"/>
                  </a:lnTo>
                  <a:lnTo>
                    <a:pt x="533" y="803"/>
                  </a:lnTo>
                  <a:lnTo>
                    <a:pt x="521" y="807"/>
                  </a:lnTo>
                  <a:lnTo>
                    <a:pt x="501" y="811"/>
                  </a:lnTo>
                  <a:lnTo>
                    <a:pt x="493" y="819"/>
                  </a:lnTo>
                  <a:lnTo>
                    <a:pt x="477" y="827"/>
                  </a:lnTo>
                  <a:lnTo>
                    <a:pt x="460" y="827"/>
                  </a:lnTo>
                  <a:lnTo>
                    <a:pt x="440" y="835"/>
                  </a:lnTo>
                  <a:lnTo>
                    <a:pt x="416" y="835"/>
                  </a:lnTo>
                  <a:lnTo>
                    <a:pt x="396" y="835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43" name="Freeform 51"/>
            <p:cNvSpPr>
              <a:spLocks/>
            </p:cNvSpPr>
            <p:nvPr/>
          </p:nvSpPr>
          <p:spPr bwMode="auto">
            <a:xfrm>
              <a:off x="3665621" y="2409487"/>
              <a:ext cx="714375" cy="812318"/>
            </a:xfrm>
            <a:custGeom>
              <a:avLst/>
              <a:gdLst>
                <a:gd name="T0" fmla="*/ 2147483647 w 795"/>
                <a:gd name="T1" fmla="*/ 2147483647 h 912"/>
                <a:gd name="T2" fmla="*/ 2147483647 w 795"/>
                <a:gd name="T3" fmla="*/ 2147483647 h 912"/>
                <a:gd name="T4" fmla="*/ 2147483647 w 795"/>
                <a:gd name="T5" fmla="*/ 2147483647 h 912"/>
                <a:gd name="T6" fmla="*/ 2147483647 w 795"/>
                <a:gd name="T7" fmla="*/ 2147483647 h 912"/>
                <a:gd name="T8" fmla="*/ 2147483647 w 795"/>
                <a:gd name="T9" fmla="*/ 2147483647 h 912"/>
                <a:gd name="T10" fmla="*/ 2147483647 w 795"/>
                <a:gd name="T11" fmla="*/ 2147483647 h 912"/>
                <a:gd name="T12" fmla="*/ 2147483647 w 795"/>
                <a:gd name="T13" fmla="*/ 2147483647 h 912"/>
                <a:gd name="T14" fmla="*/ 2147483647 w 795"/>
                <a:gd name="T15" fmla="*/ 2147483647 h 912"/>
                <a:gd name="T16" fmla="*/ 2147483647 w 795"/>
                <a:gd name="T17" fmla="*/ 2147483647 h 912"/>
                <a:gd name="T18" fmla="*/ 2147483647 w 795"/>
                <a:gd name="T19" fmla="*/ 2147483647 h 912"/>
                <a:gd name="T20" fmla="*/ 2147483647 w 795"/>
                <a:gd name="T21" fmla="*/ 2147483647 h 912"/>
                <a:gd name="T22" fmla="*/ 2147483647 w 795"/>
                <a:gd name="T23" fmla="*/ 2147483647 h 912"/>
                <a:gd name="T24" fmla="*/ 2147483647 w 795"/>
                <a:gd name="T25" fmla="*/ 2147483647 h 912"/>
                <a:gd name="T26" fmla="*/ 2147483647 w 795"/>
                <a:gd name="T27" fmla="*/ 2147483647 h 912"/>
                <a:gd name="T28" fmla="*/ 2147483647 w 795"/>
                <a:gd name="T29" fmla="*/ 2147483647 h 912"/>
                <a:gd name="T30" fmla="*/ 2147483647 w 795"/>
                <a:gd name="T31" fmla="*/ 2147483647 h 912"/>
                <a:gd name="T32" fmla="*/ 2147483647 w 795"/>
                <a:gd name="T33" fmla="*/ 2147483647 h 912"/>
                <a:gd name="T34" fmla="*/ 2147483647 w 795"/>
                <a:gd name="T35" fmla="*/ 2147483647 h 912"/>
                <a:gd name="T36" fmla="*/ 0 w 795"/>
                <a:gd name="T37" fmla="*/ 2147483647 h 912"/>
                <a:gd name="T38" fmla="*/ 2147483647 w 795"/>
                <a:gd name="T39" fmla="*/ 2147483647 h 912"/>
                <a:gd name="T40" fmla="*/ 2147483647 w 795"/>
                <a:gd name="T41" fmla="*/ 2147483647 h 912"/>
                <a:gd name="T42" fmla="*/ 2147483647 w 795"/>
                <a:gd name="T43" fmla="*/ 2147483647 h 912"/>
                <a:gd name="T44" fmla="*/ 2147483647 w 795"/>
                <a:gd name="T45" fmla="*/ 2147483647 h 912"/>
                <a:gd name="T46" fmla="*/ 2147483647 w 795"/>
                <a:gd name="T47" fmla="*/ 2147483647 h 912"/>
                <a:gd name="T48" fmla="*/ 2147483647 w 795"/>
                <a:gd name="T49" fmla="*/ 2147483647 h 912"/>
                <a:gd name="T50" fmla="*/ 2147483647 w 795"/>
                <a:gd name="T51" fmla="*/ 2147483647 h 912"/>
                <a:gd name="T52" fmla="*/ 2147483647 w 795"/>
                <a:gd name="T53" fmla="*/ 2147483647 h 912"/>
                <a:gd name="T54" fmla="*/ 2147483647 w 795"/>
                <a:gd name="T55" fmla="*/ 0 h 912"/>
                <a:gd name="T56" fmla="*/ 2147483647 w 795"/>
                <a:gd name="T57" fmla="*/ 2147483647 h 912"/>
                <a:gd name="T58" fmla="*/ 2147483647 w 795"/>
                <a:gd name="T59" fmla="*/ 2147483647 h 912"/>
                <a:gd name="T60" fmla="*/ 2147483647 w 795"/>
                <a:gd name="T61" fmla="*/ 2147483647 h 912"/>
                <a:gd name="T62" fmla="*/ 2147483647 w 795"/>
                <a:gd name="T63" fmla="*/ 2147483647 h 912"/>
                <a:gd name="T64" fmla="*/ 2147483647 w 795"/>
                <a:gd name="T65" fmla="*/ 2147483647 h 912"/>
                <a:gd name="T66" fmla="*/ 2147483647 w 795"/>
                <a:gd name="T67" fmla="*/ 2147483647 h 912"/>
                <a:gd name="T68" fmla="*/ 2147483647 w 795"/>
                <a:gd name="T69" fmla="*/ 2147483647 h 912"/>
                <a:gd name="T70" fmla="*/ 2147483647 w 795"/>
                <a:gd name="T71" fmla="*/ 2147483647 h 912"/>
                <a:gd name="T72" fmla="*/ 2147483647 w 795"/>
                <a:gd name="T73" fmla="*/ 2147483647 h 912"/>
                <a:gd name="T74" fmla="*/ 2147483647 w 795"/>
                <a:gd name="T75" fmla="*/ 2147483647 h 912"/>
                <a:gd name="T76" fmla="*/ 2147483647 w 795"/>
                <a:gd name="T77" fmla="*/ 2147483647 h 912"/>
                <a:gd name="T78" fmla="*/ 2147483647 w 795"/>
                <a:gd name="T79" fmla="*/ 2147483647 h 912"/>
                <a:gd name="T80" fmla="*/ 2147483647 w 795"/>
                <a:gd name="T81" fmla="*/ 2147483647 h 912"/>
                <a:gd name="T82" fmla="*/ 2147483647 w 795"/>
                <a:gd name="T83" fmla="*/ 2147483647 h 912"/>
                <a:gd name="T84" fmla="*/ 2147483647 w 795"/>
                <a:gd name="T85" fmla="*/ 2147483647 h 912"/>
                <a:gd name="T86" fmla="*/ 2147483647 w 795"/>
                <a:gd name="T87" fmla="*/ 2147483647 h 912"/>
                <a:gd name="T88" fmla="*/ 2147483647 w 795"/>
                <a:gd name="T89" fmla="*/ 2147483647 h 912"/>
                <a:gd name="T90" fmla="*/ 2147483647 w 795"/>
                <a:gd name="T91" fmla="*/ 2147483647 h 912"/>
                <a:gd name="T92" fmla="*/ 2147483647 w 795"/>
                <a:gd name="T93" fmla="*/ 2147483647 h 912"/>
                <a:gd name="T94" fmla="*/ 2147483647 w 795"/>
                <a:gd name="T95" fmla="*/ 2147483647 h 912"/>
                <a:gd name="T96" fmla="*/ 2147483647 w 795"/>
                <a:gd name="T97" fmla="*/ 2147483647 h 912"/>
                <a:gd name="T98" fmla="*/ 2147483647 w 795"/>
                <a:gd name="T99" fmla="*/ 2147483647 h 912"/>
                <a:gd name="T100" fmla="*/ 2147483647 w 795"/>
                <a:gd name="T101" fmla="*/ 2147483647 h 912"/>
                <a:gd name="T102" fmla="*/ 2147483647 w 795"/>
                <a:gd name="T103" fmla="*/ 2147483647 h 912"/>
                <a:gd name="T104" fmla="*/ 2147483647 w 795"/>
                <a:gd name="T105" fmla="*/ 2147483647 h 912"/>
                <a:gd name="T106" fmla="*/ 2147483647 w 795"/>
                <a:gd name="T107" fmla="*/ 2147483647 h 912"/>
                <a:gd name="T108" fmla="*/ 2147483647 w 795"/>
                <a:gd name="T109" fmla="*/ 2147483647 h 912"/>
                <a:gd name="T110" fmla="*/ 2147483647 w 795"/>
                <a:gd name="T111" fmla="*/ 2147483647 h 912"/>
                <a:gd name="T112" fmla="*/ 2147483647 w 795"/>
                <a:gd name="T113" fmla="*/ 2147483647 h 912"/>
                <a:gd name="T114" fmla="*/ 2147483647 w 795"/>
                <a:gd name="T115" fmla="*/ 2147483647 h 912"/>
                <a:gd name="T116" fmla="*/ 2147483647 w 795"/>
                <a:gd name="T117" fmla="*/ 2147483647 h 912"/>
                <a:gd name="T118" fmla="*/ 2147483647 w 795"/>
                <a:gd name="T119" fmla="*/ 2147483647 h 912"/>
                <a:gd name="T120" fmla="*/ 2147483647 w 795"/>
                <a:gd name="T121" fmla="*/ 2147483647 h 91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95"/>
                <a:gd name="T184" fmla="*/ 0 h 912"/>
                <a:gd name="T185" fmla="*/ 795 w 795"/>
                <a:gd name="T186" fmla="*/ 912 h 91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95" h="912">
                  <a:moveTo>
                    <a:pt x="327" y="912"/>
                  </a:moveTo>
                  <a:lnTo>
                    <a:pt x="319" y="888"/>
                  </a:lnTo>
                  <a:lnTo>
                    <a:pt x="315" y="868"/>
                  </a:lnTo>
                  <a:lnTo>
                    <a:pt x="315" y="848"/>
                  </a:lnTo>
                  <a:lnTo>
                    <a:pt x="315" y="835"/>
                  </a:lnTo>
                  <a:lnTo>
                    <a:pt x="319" y="823"/>
                  </a:lnTo>
                  <a:lnTo>
                    <a:pt x="327" y="811"/>
                  </a:lnTo>
                  <a:lnTo>
                    <a:pt x="327" y="795"/>
                  </a:lnTo>
                  <a:lnTo>
                    <a:pt x="327" y="779"/>
                  </a:lnTo>
                  <a:lnTo>
                    <a:pt x="327" y="771"/>
                  </a:lnTo>
                  <a:lnTo>
                    <a:pt x="319" y="755"/>
                  </a:lnTo>
                  <a:lnTo>
                    <a:pt x="311" y="747"/>
                  </a:lnTo>
                  <a:lnTo>
                    <a:pt x="307" y="739"/>
                  </a:lnTo>
                  <a:lnTo>
                    <a:pt x="286" y="739"/>
                  </a:lnTo>
                  <a:lnTo>
                    <a:pt x="274" y="735"/>
                  </a:lnTo>
                  <a:lnTo>
                    <a:pt x="266" y="726"/>
                  </a:lnTo>
                  <a:lnTo>
                    <a:pt x="254" y="722"/>
                  </a:lnTo>
                  <a:lnTo>
                    <a:pt x="254" y="694"/>
                  </a:lnTo>
                  <a:lnTo>
                    <a:pt x="254" y="670"/>
                  </a:lnTo>
                  <a:lnTo>
                    <a:pt x="266" y="646"/>
                  </a:lnTo>
                  <a:lnTo>
                    <a:pt x="274" y="642"/>
                  </a:lnTo>
                  <a:lnTo>
                    <a:pt x="278" y="642"/>
                  </a:lnTo>
                  <a:lnTo>
                    <a:pt x="286" y="634"/>
                  </a:lnTo>
                  <a:lnTo>
                    <a:pt x="291" y="626"/>
                  </a:lnTo>
                  <a:lnTo>
                    <a:pt x="303" y="618"/>
                  </a:lnTo>
                  <a:lnTo>
                    <a:pt x="307" y="609"/>
                  </a:lnTo>
                  <a:lnTo>
                    <a:pt x="311" y="593"/>
                  </a:lnTo>
                  <a:lnTo>
                    <a:pt x="311" y="573"/>
                  </a:lnTo>
                  <a:lnTo>
                    <a:pt x="311" y="549"/>
                  </a:lnTo>
                  <a:lnTo>
                    <a:pt x="303" y="549"/>
                  </a:lnTo>
                  <a:lnTo>
                    <a:pt x="286" y="549"/>
                  </a:lnTo>
                  <a:lnTo>
                    <a:pt x="282" y="545"/>
                  </a:lnTo>
                  <a:lnTo>
                    <a:pt x="274" y="541"/>
                  </a:lnTo>
                  <a:lnTo>
                    <a:pt x="258" y="541"/>
                  </a:lnTo>
                  <a:lnTo>
                    <a:pt x="242" y="537"/>
                  </a:lnTo>
                  <a:lnTo>
                    <a:pt x="234" y="529"/>
                  </a:lnTo>
                  <a:lnTo>
                    <a:pt x="226" y="521"/>
                  </a:lnTo>
                  <a:lnTo>
                    <a:pt x="218" y="501"/>
                  </a:lnTo>
                  <a:lnTo>
                    <a:pt x="206" y="484"/>
                  </a:lnTo>
                  <a:lnTo>
                    <a:pt x="198" y="476"/>
                  </a:lnTo>
                  <a:lnTo>
                    <a:pt x="190" y="468"/>
                  </a:lnTo>
                  <a:lnTo>
                    <a:pt x="186" y="448"/>
                  </a:lnTo>
                  <a:lnTo>
                    <a:pt x="161" y="416"/>
                  </a:lnTo>
                  <a:lnTo>
                    <a:pt x="149" y="408"/>
                  </a:lnTo>
                  <a:lnTo>
                    <a:pt x="137" y="388"/>
                  </a:lnTo>
                  <a:lnTo>
                    <a:pt x="113" y="355"/>
                  </a:lnTo>
                  <a:lnTo>
                    <a:pt x="85" y="323"/>
                  </a:lnTo>
                  <a:lnTo>
                    <a:pt x="61" y="303"/>
                  </a:lnTo>
                  <a:lnTo>
                    <a:pt x="44" y="291"/>
                  </a:lnTo>
                  <a:lnTo>
                    <a:pt x="36" y="287"/>
                  </a:lnTo>
                  <a:lnTo>
                    <a:pt x="28" y="279"/>
                  </a:lnTo>
                  <a:lnTo>
                    <a:pt x="20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54"/>
                  </a:lnTo>
                  <a:lnTo>
                    <a:pt x="0" y="246"/>
                  </a:lnTo>
                  <a:lnTo>
                    <a:pt x="0" y="238"/>
                  </a:lnTo>
                  <a:lnTo>
                    <a:pt x="4" y="230"/>
                  </a:lnTo>
                  <a:lnTo>
                    <a:pt x="8" y="226"/>
                  </a:lnTo>
                  <a:lnTo>
                    <a:pt x="24" y="222"/>
                  </a:lnTo>
                  <a:lnTo>
                    <a:pt x="32" y="222"/>
                  </a:lnTo>
                  <a:lnTo>
                    <a:pt x="36" y="230"/>
                  </a:lnTo>
                  <a:lnTo>
                    <a:pt x="36" y="234"/>
                  </a:lnTo>
                  <a:lnTo>
                    <a:pt x="48" y="234"/>
                  </a:lnTo>
                  <a:lnTo>
                    <a:pt x="52" y="238"/>
                  </a:lnTo>
                  <a:lnTo>
                    <a:pt x="61" y="198"/>
                  </a:lnTo>
                  <a:lnTo>
                    <a:pt x="73" y="137"/>
                  </a:lnTo>
                  <a:lnTo>
                    <a:pt x="77" y="125"/>
                  </a:lnTo>
                  <a:lnTo>
                    <a:pt x="85" y="113"/>
                  </a:lnTo>
                  <a:lnTo>
                    <a:pt x="89" y="113"/>
                  </a:lnTo>
                  <a:lnTo>
                    <a:pt x="97" y="109"/>
                  </a:lnTo>
                  <a:lnTo>
                    <a:pt x="105" y="109"/>
                  </a:lnTo>
                  <a:lnTo>
                    <a:pt x="113" y="101"/>
                  </a:lnTo>
                  <a:lnTo>
                    <a:pt x="125" y="101"/>
                  </a:lnTo>
                  <a:lnTo>
                    <a:pt x="133" y="101"/>
                  </a:lnTo>
                  <a:lnTo>
                    <a:pt x="141" y="89"/>
                  </a:lnTo>
                  <a:lnTo>
                    <a:pt x="149" y="85"/>
                  </a:lnTo>
                  <a:lnTo>
                    <a:pt x="157" y="77"/>
                  </a:lnTo>
                  <a:lnTo>
                    <a:pt x="161" y="69"/>
                  </a:lnTo>
                  <a:lnTo>
                    <a:pt x="161" y="41"/>
                  </a:lnTo>
                  <a:lnTo>
                    <a:pt x="161" y="8"/>
                  </a:lnTo>
                  <a:lnTo>
                    <a:pt x="165" y="4"/>
                  </a:lnTo>
                  <a:lnTo>
                    <a:pt x="169" y="0"/>
                  </a:lnTo>
                  <a:lnTo>
                    <a:pt x="174" y="0"/>
                  </a:lnTo>
                  <a:lnTo>
                    <a:pt x="178" y="0"/>
                  </a:lnTo>
                  <a:lnTo>
                    <a:pt x="190" y="16"/>
                  </a:lnTo>
                  <a:lnTo>
                    <a:pt x="194" y="24"/>
                  </a:lnTo>
                  <a:lnTo>
                    <a:pt x="214" y="49"/>
                  </a:lnTo>
                  <a:lnTo>
                    <a:pt x="230" y="69"/>
                  </a:lnTo>
                  <a:lnTo>
                    <a:pt x="238" y="69"/>
                  </a:lnTo>
                  <a:lnTo>
                    <a:pt x="254" y="73"/>
                  </a:lnTo>
                  <a:lnTo>
                    <a:pt x="278" y="89"/>
                  </a:lnTo>
                  <a:lnTo>
                    <a:pt x="307" y="101"/>
                  </a:lnTo>
                  <a:lnTo>
                    <a:pt x="327" y="125"/>
                  </a:lnTo>
                  <a:lnTo>
                    <a:pt x="347" y="154"/>
                  </a:lnTo>
                  <a:lnTo>
                    <a:pt x="351" y="170"/>
                  </a:lnTo>
                  <a:lnTo>
                    <a:pt x="371" y="190"/>
                  </a:lnTo>
                  <a:lnTo>
                    <a:pt x="379" y="198"/>
                  </a:lnTo>
                  <a:lnTo>
                    <a:pt x="391" y="206"/>
                  </a:lnTo>
                  <a:lnTo>
                    <a:pt x="395" y="222"/>
                  </a:lnTo>
                  <a:lnTo>
                    <a:pt x="399" y="234"/>
                  </a:lnTo>
                  <a:lnTo>
                    <a:pt x="416" y="250"/>
                  </a:lnTo>
                  <a:lnTo>
                    <a:pt x="428" y="275"/>
                  </a:lnTo>
                  <a:lnTo>
                    <a:pt x="452" y="283"/>
                  </a:lnTo>
                  <a:lnTo>
                    <a:pt x="472" y="287"/>
                  </a:lnTo>
                  <a:lnTo>
                    <a:pt x="484" y="303"/>
                  </a:lnTo>
                  <a:lnTo>
                    <a:pt x="488" y="303"/>
                  </a:lnTo>
                  <a:lnTo>
                    <a:pt x="496" y="307"/>
                  </a:lnTo>
                  <a:lnTo>
                    <a:pt x="512" y="307"/>
                  </a:lnTo>
                  <a:lnTo>
                    <a:pt x="524" y="323"/>
                  </a:lnTo>
                  <a:lnTo>
                    <a:pt x="533" y="331"/>
                  </a:lnTo>
                  <a:lnTo>
                    <a:pt x="537" y="363"/>
                  </a:lnTo>
                  <a:lnTo>
                    <a:pt x="541" y="392"/>
                  </a:lnTo>
                  <a:lnTo>
                    <a:pt x="569" y="404"/>
                  </a:lnTo>
                  <a:lnTo>
                    <a:pt x="593" y="412"/>
                  </a:lnTo>
                  <a:lnTo>
                    <a:pt x="613" y="432"/>
                  </a:lnTo>
                  <a:lnTo>
                    <a:pt x="629" y="452"/>
                  </a:lnTo>
                  <a:lnTo>
                    <a:pt x="650" y="464"/>
                  </a:lnTo>
                  <a:lnTo>
                    <a:pt x="666" y="472"/>
                  </a:lnTo>
                  <a:lnTo>
                    <a:pt x="690" y="472"/>
                  </a:lnTo>
                  <a:lnTo>
                    <a:pt x="718" y="472"/>
                  </a:lnTo>
                  <a:lnTo>
                    <a:pt x="738" y="476"/>
                  </a:lnTo>
                  <a:lnTo>
                    <a:pt x="754" y="480"/>
                  </a:lnTo>
                  <a:lnTo>
                    <a:pt x="783" y="492"/>
                  </a:lnTo>
                  <a:lnTo>
                    <a:pt x="795" y="501"/>
                  </a:lnTo>
                  <a:lnTo>
                    <a:pt x="795" y="513"/>
                  </a:lnTo>
                  <a:lnTo>
                    <a:pt x="795" y="525"/>
                  </a:lnTo>
                  <a:lnTo>
                    <a:pt x="754" y="525"/>
                  </a:lnTo>
                  <a:lnTo>
                    <a:pt x="718" y="529"/>
                  </a:lnTo>
                  <a:lnTo>
                    <a:pt x="702" y="533"/>
                  </a:lnTo>
                  <a:lnTo>
                    <a:pt x="690" y="537"/>
                  </a:lnTo>
                  <a:lnTo>
                    <a:pt x="686" y="541"/>
                  </a:lnTo>
                  <a:lnTo>
                    <a:pt x="682" y="549"/>
                  </a:lnTo>
                  <a:lnTo>
                    <a:pt x="682" y="569"/>
                  </a:lnTo>
                  <a:lnTo>
                    <a:pt x="686" y="581"/>
                  </a:lnTo>
                  <a:lnTo>
                    <a:pt x="702" y="593"/>
                  </a:lnTo>
                  <a:lnTo>
                    <a:pt x="714" y="597"/>
                  </a:lnTo>
                  <a:lnTo>
                    <a:pt x="734" y="614"/>
                  </a:lnTo>
                  <a:lnTo>
                    <a:pt x="754" y="626"/>
                  </a:lnTo>
                  <a:lnTo>
                    <a:pt x="754" y="630"/>
                  </a:lnTo>
                  <a:lnTo>
                    <a:pt x="763" y="634"/>
                  </a:lnTo>
                  <a:lnTo>
                    <a:pt x="779" y="646"/>
                  </a:lnTo>
                  <a:lnTo>
                    <a:pt x="779" y="654"/>
                  </a:lnTo>
                  <a:lnTo>
                    <a:pt x="775" y="658"/>
                  </a:lnTo>
                  <a:lnTo>
                    <a:pt x="754" y="662"/>
                  </a:lnTo>
                  <a:lnTo>
                    <a:pt x="742" y="662"/>
                  </a:lnTo>
                  <a:lnTo>
                    <a:pt x="734" y="666"/>
                  </a:lnTo>
                  <a:lnTo>
                    <a:pt x="726" y="670"/>
                  </a:lnTo>
                  <a:lnTo>
                    <a:pt x="698" y="706"/>
                  </a:lnTo>
                  <a:lnTo>
                    <a:pt x="686" y="722"/>
                  </a:lnTo>
                  <a:lnTo>
                    <a:pt x="678" y="726"/>
                  </a:lnTo>
                  <a:lnTo>
                    <a:pt x="666" y="731"/>
                  </a:lnTo>
                  <a:lnTo>
                    <a:pt x="650" y="731"/>
                  </a:lnTo>
                  <a:lnTo>
                    <a:pt x="633" y="735"/>
                  </a:lnTo>
                  <a:lnTo>
                    <a:pt x="617" y="751"/>
                  </a:lnTo>
                  <a:lnTo>
                    <a:pt x="593" y="771"/>
                  </a:lnTo>
                  <a:lnTo>
                    <a:pt x="573" y="779"/>
                  </a:lnTo>
                  <a:lnTo>
                    <a:pt x="561" y="787"/>
                  </a:lnTo>
                  <a:lnTo>
                    <a:pt x="541" y="787"/>
                  </a:lnTo>
                  <a:lnTo>
                    <a:pt x="524" y="787"/>
                  </a:lnTo>
                  <a:lnTo>
                    <a:pt x="492" y="795"/>
                  </a:lnTo>
                  <a:lnTo>
                    <a:pt x="476" y="803"/>
                  </a:lnTo>
                  <a:lnTo>
                    <a:pt x="472" y="815"/>
                  </a:lnTo>
                  <a:lnTo>
                    <a:pt x="472" y="823"/>
                  </a:lnTo>
                  <a:lnTo>
                    <a:pt x="452" y="835"/>
                  </a:lnTo>
                  <a:lnTo>
                    <a:pt x="448" y="843"/>
                  </a:lnTo>
                  <a:lnTo>
                    <a:pt x="448" y="860"/>
                  </a:lnTo>
                  <a:lnTo>
                    <a:pt x="444" y="868"/>
                  </a:lnTo>
                  <a:lnTo>
                    <a:pt x="444" y="872"/>
                  </a:lnTo>
                  <a:lnTo>
                    <a:pt x="436" y="876"/>
                  </a:lnTo>
                  <a:lnTo>
                    <a:pt x="428" y="876"/>
                  </a:lnTo>
                  <a:lnTo>
                    <a:pt x="420" y="876"/>
                  </a:lnTo>
                  <a:lnTo>
                    <a:pt x="403" y="864"/>
                  </a:lnTo>
                  <a:lnTo>
                    <a:pt x="383" y="848"/>
                  </a:lnTo>
                  <a:lnTo>
                    <a:pt x="379" y="839"/>
                  </a:lnTo>
                  <a:lnTo>
                    <a:pt x="371" y="827"/>
                  </a:lnTo>
                  <a:lnTo>
                    <a:pt x="363" y="827"/>
                  </a:lnTo>
                  <a:lnTo>
                    <a:pt x="351" y="827"/>
                  </a:lnTo>
                  <a:lnTo>
                    <a:pt x="343" y="835"/>
                  </a:lnTo>
                  <a:lnTo>
                    <a:pt x="339" y="839"/>
                  </a:lnTo>
                  <a:lnTo>
                    <a:pt x="335" y="872"/>
                  </a:lnTo>
                  <a:lnTo>
                    <a:pt x="335" y="904"/>
                  </a:lnTo>
                  <a:lnTo>
                    <a:pt x="331" y="908"/>
                  </a:lnTo>
                  <a:lnTo>
                    <a:pt x="327" y="91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44" name="Freeform 52"/>
            <p:cNvSpPr>
              <a:spLocks/>
            </p:cNvSpPr>
            <p:nvPr/>
          </p:nvSpPr>
          <p:spPr bwMode="auto">
            <a:xfrm>
              <a:off x="2303546" y="1687968"/>
              <a:ext cx="1130300" cy="1263064"/>
            </a:xfrm>
            <a:custGeom>
              <a:avLst/>
              <a:gdLst>
                <a:gd name="T0" fmla="*/ 436047059 w 1259"/>
                <a:gd name="T1" fmla="*/ 1037556013 h 1420"/>
                <a:gd name="T2" fmla="*/ 452166621 w 1259"/>
                <a:gd name="T3" fmla="*/ 973087626 h 1420"/>
                <a:gd name="T4" fmla="*/ 429599234 w 1259"/>
                <a:gd name="T5" fmla="*/ 844910049 h 1420"/>
                <a:gd name="T6" fmla="*/ 403000835 w 1259"/>
                <a:gd name="T7" fmla="*/ 777408357 h 1420"/>
                <a:gd name="T8" fmla="*/ 260338895 w 1259"/>
                <a:gd name="T9" fmla="*/ 765273398 h 1420"/>
                <a:gd name="T10" fmla="*/ 207948242 w 1259"/>
                <a:gd name="T11" fmla="*/ 731901824 h 1420"/>
                <a:gd name="T12" fmla="*/ 240994523 w 1259"/>
                <a:gd name="T13" fmla="*/ 706872490 h 1420"/>
                <a:gd name="T14" fmla="*/ 244218435 w 1259"/>
                <a:gd name="T15" fmla="*/ 643163518 h 1420"/>
                <a:gd name="T16" fmla="*/ 204724330 w 1259"/>
                <a:gd name="T17" fmla="*/ 602965920 h 1420"/>
                <a:gd name="T18" fmla="*/ 127348636 w 1259"/>
                <a:gd name="T19" fmla="*/ 581729306 h 1420"/>
                <a:gd name="T20" fmla="*/ 78181924 w 1259"/>
                <a:gd name="T21" fmla="*/ 596897570 h 1420"/>
                <a:gd name="T22" fmla="*/ 49165801 w 1259"/>
                <a:gd name="T23" fmla="*/ 569593476 h 1420"/>
                <a:gd name="T24" fmla="*/ 33046238 w 1259"/>
                <a:gd name="T25" fmla="*/ 544565013 h 1420"/>
                <a:gd name="T26" fmla="*/ 3223913 w 1259"/>
                <a:gd name="T27" fmla="*/ 526362574 h 1420"/>
                <a:gd name="T28" fmla="*/ 3223913 w 1259"/>
                <a:gd name="T29" fmla="*/ 492991000 h 1420"/>
                <a:gd name="T30" fmla="*/ 55614523 w 1259"/>
                <a:gd name="T31" fmla="*/ 407285890 h 1420"/>
                <a:gd name="T32" fmla="*/ 84629749 w 1259"/>
                <a:gd name="T33" fmla="*/ 373914316 h 1420"/>
                <a:gd name="T34" fmla="*/ 133796461 w 1259"/>
                <a:gd name="T35" fmla="*/ 357986637 h 1420"/>
                <a:gd name="T36" fmla="*/ 133796461 w 1259"/>
                <a:gd name="T37" fmla="*/ 330682543 h 1420"/>
                <a:gd name="T38" fmla="*/ 191828680 w 1259"/>
                <a:gd name="T39" fmla="*/ 285176010 h 1420"/>
                <a:gd name="T40" fmla="*/ 237770610 w 1259"/>
                <a:gd name="T41" fmla="*/ 272282507 h 1420"/>
                <a:gd name="T42" fmla="*/ 250666260 w 1259"/>
                <a:gd name="T43" fmla="*/ 226775919 h 1420"/>
                <a:gd name="T44" fmla="*/ 211172155 w 1259"/>
                <a:gd name="T45" fmla="*/ 186578321 h 1420"/>
                <a:gd name="T46" fmla="*/ 153139936 w 1259"/>
                <a:gd name="T47" fmla="*/ 199471825 h 1420"/>
                <a:gd name="T48" fmla="*/ 110421946 w 1259"/>
                <a:gd name="T49" fmla="*/ 183544146 h 1420"/>
                <a:gd name="T50" fmla="*/ 140244286 w 1259"/>
                <a:gd name="T51" fmla="*/ 144105093 h 1420"/>
                <a:gd name="T52" fmla="*/ 231322729 w 1259"/>
                <a:gd name="T53" fmla="*/ 76603374 h 1420"/>
                <a:gd name="T54" fmla="*/ 279682369 w 1259"/>
                <a:gd name="T55" fmla="*/ 25028469 h 1420"/>
                <a:gd name="T56" fmla="*/ 325624244 w 1259"/>
                <a:gd name="T57" fmla="*/ 0 h 1420"/>
                <a:gd name="T58" fmla="*/ 357865163 w 1259"/>
                <a:gd name="T59" fmla="*/ 9101658 h 1420"/>
                <a:gd name="T60" fmla="*/ 335296879 w 1259"/>
                <a:gd name="T61" fmla="*/ 76603374 h 1420"/>
                <a:gd name="T62" fmla="*/ 325624244 w 1259"/>
                <a:gd name="T63" fmla="*/ 122868478 h 1420"/>
                <a:gd name="T64" fmla="*/ 364312988 w 1259"/>
                <a:gd name="T65" fmla="*/ 122868478 h 1420"/>
                <a:gd name="T66" fmla="*/ 393329097 w 1259"/>
                <a:gd name="T67" fmla="*/ 85704158 h 1420"/>
                <a:gd name="T68" fmla="*/ 416702687 w 1259"/>
                <a:gd name="T69" fmla="*/ 67501719 h 1420"/>
                <a:gd name="T70" fmla="*/ 445718796 w 1259"/>
                <a:gd name="T71" fmla="*/ 150172572 h 1420"/>
                <a:gd name="T72" fmla="*/ 442494884 w 1259"/>
                <a:gd name="T73" fmla="*/ 189611626 h 1420"/>
                <a:gd name="T74" fmla="*/ 477958930 w 1259"/>
                <a:gd name="T75" fmla="*/ 269249202 h 1420"/>
                <a:gd name="T76" fmla="*/ 585156936 w 1259"/>
                <a:gd name="T77" fmla="*/ 300345145 h 1420"/>
                <a:gd name="T78" fmla="*/ 608531423 w 1259"/>
                <a:gd name="T79" fmla="*/ 278349986 h 1420"/>
                <a:gd name="T80" fmla="*/ 631099708 w 1259"/>
                <a:gd name="T81" fmla="*/ 309446800 h 1420"/>
                <a:gd name="T82" fmla="*/ 660114920 w 1259"/>
                <a:gd name="T83" fmla="*/ 370881011 h 1420"/>
                <a:gd name="T84" fmla="*/ 702833779 w 1259"/>
                <a:gd name="T85" fmla="*/ 437624159 h 1420"/>
                <a:gd name="T86" fmla="*/ 754417275 w 1259"/>
                <a:gd name="T87" fmla="*/ 446724943 h 1420"/>
                <a:gd name="T88" fmla="*/ 810031784 w 1259"/>
                <a:gd name="T89" fmla="*/ 455826598 h 1420"/>
                <a:gd name="T90" fmla="*/ 829376157 w 1259"/>
                <a:gd name="T91" fmla="*/ 455826598 h 1420"/>
                <a:gd name="T92" fmla="*/ 851943544 w 1259"/>
                <a:gd name="T93" fmla="*/ 440657463 h 1420"/>
                <a:gd name="T94" fmla="*/ 884989768 w 1259"/>
                <a:gd name="T95" fmla="*/ 486923520 h 1420"/>
                <a:gd name="T96" fmla="*/ 936574162 w 1259"/>
                <a:gd name="T97" fmla="*/ 486923520 h 1420"/>
                <a:gd name="T98" fmla="*/ 959141773 w 1259"/>
                <a:gd name="T99" fmla="*/ 492991000 h 1420"/>
                <a:gd name="T100" fmla="*/ 949470036 w 1259"/>
                <a:gd name="T101" fmla="*/ 560492692 h 1420"/>
                <a:gd name="T102" fmla="*/ 962366584 w 1259"/>
                <a:gd name="T103" fmla="*/ 627235839 h 1420"/>
                <a:gd name="T104" fmla="*/ 985740173 w 1259"/>
                <a:gd name="T105" fmla="*/ 728867649 h 1420"/>
                <a:gd name="T106" fmla="*/ 1011532370 w 1259"/>
                <a:gd name="T107" fmla="*/ 789543317 h 1420"/>
                <a:gd name="T108" fmla="*/ 998635823 w 1259"/>
                <a:gd name="T109" fmla="*/ 817605955 h 1420"/>
                <a:gd name="T110" fmla="*/ 943022211 w 1259"/>
                <a:gd name="T111" fmla="*/ 804712451 h 1420"/>
                <a:gd name="T112" fmla="*/ 864840091 w 1259"/>
                <a:gd name="T113" fmla="*/ 860079183 h 1420"/>
                <a:gd name="T114" fmla="*/ 835823981 w 1259"/>
                <a:gd name="T115" fmla="*/ 896484933 h 1420"/>
                <a:gd name="T116" fmla="*/ 790687412 w 1259"/>
                <a:gd name="T117" fmla="*/ 890416582 h 1420"/>
                <a:gd name="T118" fmla="*/ 747969450 w 1259"/>
                <a:gd name="T119" fmla="*/ 875248318 h 1420"/>
                <a:gd name="T120" fmla="*/ 627874898 w 1259"/>
                <a:gd name="T121" fmla="*/ 909378436 h 1420"/>
                <a:gd name="T122" fmla="*/ 562589549 w 1259"/>
                <a:gd name="T123" fmla="*/ 973087626 h 1420"/>
                <a:gd name="T124" fmla="*/ 552916914 w 1259"/>
                <a:gd name="T125" fmla="*/ 1067893412 h 14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259"/>
                <a:gd name="T190" fmla="*/ 0 h 1420"/>
                <a:gd name="T191" fmla="*/ 1259 w 1259"/>
                <a:gd name="T192" fmla="*/ 1420 h 14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259" h="1420">
                  <a:moveTo>
                    <a:pt x="593" y="1420"/>
                  </a:moveTo>
                  <a:lnTo>
                    <a:pt x="581" y="1412"/>
                  </a:lnTo>
                  <a:lnTo>
                    <a:pt x="561" y="1400"/>
                  </a:lnTo>
                  <a:lnTo>
                    <a:pt x="553" y="1392"/>
                  </a:lnTo>
                  <a:lnTo>
                    <a:pt x="541" y="1368"/>
                  </a:lnTo>
                  <a:lnTo>
                    <a:pt x="541" y="1348"/>
                  </a:lnTo>
                  <a:lnTo>
                    <a:pt x="541" y="1332"/>
                  </a:lnTo>
                  <a:lnTo>
                    <a:pt x="549" y="1320"/>
                  </a:lnTo>
                  <a:lnTo>
                    <a:pt x="561" y="1308"/>
                  </a:lnTo>
                  <a:lnTo>
                    <a:pt x="561" y="1283"/>
                  </a:lnTo>
                  <a:lnTo>
                    <a:pt x="561" y="1251"/>
                  </a:lnTo>
                  <a:lnTo>
                    <a:pt x="549" y="1223"/>
                  </a:lnTo>
                  <a:lnTo>
                    <a:pt x="533" y="1191"/>
                  </a:lnTo>
                  <a:lnTo>
                    <a:pt x="533" y="1154"/>
                  </a:lnTo>
                  <a:lnTo>
                    <a:pt x="533" y="1114"/>
                  </a:lnTo>
                  <a:lnTo>
                    <a:pt x="545" y="1078"/>
                  </a:lnTo>
                  <a:lnTo>
                    <a:pt x="549" y="1041"/>
                  </a:lnTo>
                  <a:lnTo>
                    <a:pt x="541" y="1033"/>
                  </a:lnTo>
                  <a:lnTo>
                    <a:pt x="525" y="1029"/>
                  </a:lnTo>
                  <a:lnTo>
                    <a:pt x="500" y="1025"/>
                  </a:lnTo>
                  <a:lnTo>
                    <a:pt x="476" y="1025"/>
                  </a:lnTo>
                  <a:lnTo>
                    <a:pt x="456" y="1029"/>
                  </a:lnTo>
                  <a:lnTo>
                    <a:pt x="436" y="1033"/>
                  </a:lnTo>
                  <a:lnTo>
                    <a:pt x="383" y="1025"/>
                  </a:lnTo>
                  <a:lnTo>
                    <a:pt x="323" y="1009"/>
                  </a:lnTo>
                  <a:lnTo>
                    <a:pt x="303" y="1005"/>
                  </a:lnTo>
                  <a:lnTo>
                    <a:pt x="283" y="997"/>
                  </a:lnTo>
                  <a:lnTo>
                    <a:pt x="279" y="985"/>
                  </a:lnTo>
                  <a:lnTo>
                    <a:pt x="271" y="969"/>
                  </a:lnTo>
                  <a:lnTo>
                    <a:pt x="258" y="965"/>
                  </a:lnTo>
                  <a:lnTo>
                    <a:pt x="246" y="961"/>
                  </a:lnTo>
                  <a:lnTo>
                    <a:pt x="246" y="944"/>
                  </a:lnTo>
                  <a:lnTo>
                    <a:pt x="250" y="940"/>
                  </a:lnTo>
                  <a:lnTo>
                    <a:pt x="275" y="932"/>
                  </a:lnTo>
                  <a:lnTo>
                    <a:pt x="299" y="932"/>
                  </a:lnTo>
                  <a:lnTo>
                    <a:pt x="303" y="932"/>
                  </a:lnTo>
                  <a:lnTo>
                    <a:pt x="307" y="904"/>
                  </a:lnTo>
                  <a:lnTo>
                    <a:pt x="307" y="860"/>
                  </a:lnTo>
                  <a:lnTo>
                    <a:pt x="303" y="848"/>
                  </a:lnTo>
                  <a:lnTo>
                    <a:pt x="299" y="831"/>
                  </a:lnTo>
                  <a:lnTo>
                    <a:pt x="287" y="819"/>
                  </a:lnTo>
                  <a:lnTo>
                    <a:pt x="275" y="819"/>
                  </a:lnTo>
                  <a:lnTo>
                    <a:pt x="262" y="803"/>
                  </a:lnTo>
                  <a:lnTo>
                    <a:pt x="254" y="795"/>
                  </a:lnTo>
                  <a:lnTo>
                    <a:pt x="226" y="787"/>
                  </a:lnTo>
                  <a:lnTo>
                    <a:pt x="182" y="779"/>
                  </a:lnTo>
                  <a:lnTo>
                    <a:pt x="174" y="779"/>
                  </a:lnTo>
                  <a:lnTo>
                    <a:pt x="166" y="775"/>
                  </a:lnTo>
                  <a:lnTo>
                    <a:pt x="158" y="767"/>
                  </a:lnTo>
                  <a:lnTo>
                    <a:pt x="141" y="767"/>
                  </a:lnTo>
                  <a:lnTo>
                    <a:pt x="129" y="767"/>
                  </a:lnTo>
                  <a:lnTo>
                    <a:pt x="113" y="775"/>
                  </a:lnTo>
                  <a:lnTo>
                    <a:pt x="105" y="779"/>
                  </a:lnTo>
                  <a:lnTo>
                    <a:pt x="97" y="787"/>
                  </a:lnTo>
                  <a:lnTo>
                    <a:pt x="93" y="787"/>
                  </a:lnTo>
                  <a:lnTo>
                    <a:pt x="89" y="787"/>
                  </a:lnTo>
                  <a:lnTo>
                    <a:pt x="69" y="763"/>
                  </a:lnTo>
                  <a:lnTo>
                    <a:pt x="61" y="759"/>
                  </a:lnTo>
                  <a:lnTo>
                    <a:pt x="61" y="751"/>
                  </a:lnTo>
                  <a:lnTo>
                    <a:pt x="57" y="743"/>
                  </a:lnTo>
                  <a:lnTo>
                    <a:pt x="53" y="739"/>
                  </a:lnTo>
                  <a:lnTo>
                    <a:pt x="49" y="739"/>
                  </a:lnTo>
                  <a:lnTo>
                    <a:pt x="45" y="731"/>
                  </a:lnTo>
                  <a:lnTo>
                    <a:pt x="41" y="718"/>
                  </a:lnTo>
                  <a:lnTo>
                    <a:pt x="28" y="714"/>
                  </a:lnTo>
                  <a:lnTo>
                    <a:pt x="20" y="706"/>
                  </a:lnTo>
                  <a:lnTo>
                    <a:pt x="20" y="702"/>
                  </a:lnTo>
                  <a:lnTo>
                    <a:pt x="12" y="698"/>
                  </a:lnTo>
                  <a:lnTo>
                    <a:pt x="4" y="694"/>
                  </a:lnTo>
                  <a:lnTo>
                    <a:pt x="4" y="686"/>
                  </a:lnTo>
                  <a:lnTo>
                    <a:pt x="0" y="674"/>
                  </a:lnTo>
                  <a:lnTo>
                    <a:pt x="0" y="662"/>
                  </a:lnTo>
                  <a:lnTo>
                    <a:pt x="0" y="650"/>
                  </a:lnTo>
                  <a:lnTo>
                    <a:pt x="4" y="650"/>
                  </a:lnTo>
                  <a:lnTo>
                    <a:pt x="16" y="601"/>
                  </a:lnTo>
                  <a:lnTo>
                    <a:pt x="20" y="581"/>
                  </a:lnTo>
                  <a:lnTo>
                    <a:pt x="45" y="565"/>
                  </a:lnTo>
                  <a:lnTo>
                    <a:pt x="65" y="553"/>
                  </a:lnTo>
                  <a:lnTo>
                    <a:pt x="69" y="537"/>
                  </a:lnTo>
                  <a:lnTo>
                    <a:pt x="81" y="513"/>
                  </a:lnTo>
                  <a:lnTo>
                    <a:pt x="89" y="509"/>
                  </a:lnTo>
                  <a:lnTo>
                    <a:pt x="93" y="505"/>
                  </a:lnTo>
                  <a:lnTo>
                    <a:pt x="101" y="501"/>
                  </a:lnTo>
                  <a:lnTo>
                    <a:pt x="105" y="493"/>
                  </a:lnTo>
                  <a:lnTo>
                    <a:pt x="121" y="493"/>
                  </a:lnTo>
                  <a:lnTo>
                    <a:pt x="141" y="489"/>
                  </a:lnTo>
                  <a:lnTo>
                    <a:pt x="154" y="489"/>
                  </a:lnTo>
                  <a:lnTo>
                    <a:pt x="158" y="484"/>
                  </a:lnTo>
                  <a:lnTo>
                    <a:pt x="166" y="472"/>
                  </a:lnTo>
                  <a:lnTo>
                    <a:pt x="174" y="464"/>
                  </a:lnTo>
                  <a:lnTo>
                    <a:pt x="174" y="460"/>
                  </a:lnTo>
                  <a:lnTo>
                    <a:pt x="174" y="452"/>
                  </a:lnTo>
                  <a:lnTo>
                    <a:pt x="170" y="444"/>
                  </a:lnTo>
                  <a:lnTo>
                    <a:pt x="166" y="436"/>
                  </a:lnTo>
                  <a:lnTo>
                    <a:pt x="166" y="424"/>
                  </a:lnTo>
                  <a:lnTo>
                    <a:pt x="166" y="420"/>
                  </a:lnTo>
                  <a:lnTo>
                    <a:pt x="206" y="392"/>
                  </a:lnTo>
                  <a:lnTo>
                    <a:pt x="218" y="380"/>
                  </a:lnTo>
                  <a:lnTo>
                    <a:pt x="238" y="376"/>
                  </a:lnTo>
                  <a:lnTo>
                    <a:pt x="246" y="372"/>
                  </a:lnTo>
                  <a:lnTo>
                    <a:pt x="258" y="372"/>
                  </a:lnTo>
                  <a:lnTo>
                    <a:pt x="279" y="372"/>
                  </a:lnTo>
                  <a:lnTo>
                    <a:pt x="283" y="367"/>
                  </a:lnTo>
                  <a:lnTo>
                    <a:pt x="295" y="359"/>
                  </a:lnTo>
                  <a:lnTo>
                    <a:pt x="303" y="347"/>
                  </a:lnTo>
                  <a:lnTo>
                    <a:pt x="315" y="331"/>
                  </a:lnTo>
                  <a:lnTo>
                    <a:pt x="315" y="323"/>
                  </a:lnTo>
                  <a:lnTo>
                    <a:pt x="315" y="307"/>
                  </a:lnTo>
                  <a:lnTo>
                    <a:pt x="311" y="299"/>
                  </a:lnTo>
                  <a:lnTo>
                    <a:pt x="307" y="291"/>
                  </a:lnTo>
                  <a:lnTo>
                    <a:pt x="295" y="279"/>
                  </a:lnTo>
                  <a:lnTo>
                    <a:pt x="275" y="250"/>
                  </a:lnTo>
                  <a:lnTo>
                    <a:pt x="271" y="250"/>
                  </a:lnTo>
                  <a:lnTo>
                    <a:pt x="262" y="246"/>
                  </a:lnTo>
                  <a:lnTo>
                    <a:pt x="258" y="246"/>
                  </a:lnTo>
                  <a:lnTo>
                    <a:pt x="250" y="246"/>
                  </a:lnTo>
                  <a:lnTo>
                    <a:pt x="210" y="259"/>
                  </a:lnTo>
                  <a:lnTo>
                    <a:pt x="198" y="263"/>
                  </a:lnTo>
                  <a:lnTo>
                    <a:pt x="190" y="263"/>
                  </a:lnTo>
                  <a:lnTo>
                    <a:pt x="174" y="263"/>
                  </a:lnTo>
                  <a:lnTo>
                    <a:pt x="162" y="259"/>
                  </a:lnTo>
                  <a:lnTo>
                    <a:pt x="145" y="255"/>
                  </a:lnTo>
                  <a:lnTo>
                    <a:pt x="141" y="246"/>
                  </a:lnTo>
                  <a:lnTo>
                    <a:pt x="137" y="242"/>
                  </a:lnTo>
                  <a:lnTo>
                    <a:pt x="137" y="234"/>
                  </a:lnTo>
                  <a:lnTo>
                    <a:pt x="137" y="218"/>
                  </a:lnTo>
                  <a:lnTo>
                    <a:pt x="137" y="214"/>
                  </a:lnTo>
                  <a:lnTo>
                    <a:pt x="141" y="210"/>
                  </a:lnTo>
                  <a:lnTo>
                    <a:pt x="174" y="190"/>
                  </a:lnTo>
                  <a:lnTo>
                    <a:pt x="210" y="162"/>
                  </a:lnTo>
                  <a:lnTo>
                    <a:pt x="210" y="158"/>
                  </a:lnTo>
                  <a:lnTo>
                    <a:pt x="218" y="154"/>
                  </a:lnTo>
                  <a:lnTo>
                    <a:pt x="254" y="121"/>
                  </a:lnTo>
                  <a:lnTo>
                    <a:pt x="287" y="101"/>
                  </a:lnTo>
                  <a:lnTo>
                    <a:pt x="287" y="69"/>
                  </a:lnTo>
                  <a:lnTo>
                    <a:pt x="295" y="45"/>
                  </a:lnTo>
                  <a:lnTo>
                    <a:pt x="299" y="45"/>
                  </a:lnTo>
                  <a:lnTo>
                    <a:pt x="303" y="41"/>
                  </a:lnTo>
                  <a:lnTo>
                    <a:pt x="347" y="33"/>
                  </a:lnTo>
                  <a:lnTo>
                    <a:pt x="367" y="29"/>
                  </a:lnTo>
                  <a:lnTo>
                    <a:pt x="371" y="16"/>
                  </a:lnTo>
                  <a:lnTo>
                    <a:pt x="375" y="12"/>
                  </a:lnTo>
                  <a:lnTo>
                    <a:pt x="392" y="4"/>
                  </a:lnTo>
                  <a:lnTo>
                    <a:pt x="404" y="0"/>
                  </a:lnTo>
                  <a:lnTo>
                    <a:pt x="420" y="0"/>
                  </a:lnTo>
                  <a:lnTo>
                    <a:pt x="436" y="0"/>
                  </a:lnTo>
                  <a:lnTo>
                    <a:pt x="440" y="0"/>
                  </a:lnTo>
                  <a:lnTo>
                    <a:pt x="444" y="4"/>
                  </a:lnTo>
                  <a:lnTo>
                    <a:pt x="444" y="12"/>
                  </a:lnTo>
                  <a:lnTo>
                    <a:pt x="444" y="21"/>
                  </a:lnTo>
                  <a:lnTo>
                    <a:pt x="440" y="33"/>
                  </a:lnTo>
                  <a:lnTo>
                    <a:pt x="428" y="77"/>
                  </a:lnTo>
                  <a:lnTo>
                    <a:pt x="420" y="85"/>
                  </a:lnTo>
                  <a:lnTo>
                    <a:pt x="416" y="101"/>
                  </a:lnTo>
                  <a:lnTo>
                    <a:pt x="412" y="101"/>
                  </a:lnTo>
                  <a:lnTo>
                    <a:pt x="404" y="125"/>
                  </a:lnTo>
                  <a:lnTo>
                    <a:pt x="404" y="158"/>
                  </a:lnTo>
                  <a:lnTo>
                    <a:pt x="404" y="162"/>
                  </a:lnTo>
                  <a:lnTo>
                    <a:pt x="412" y="170"/>
                  </a:lnTo>
                  <a:lnTo>
                    <a:pt x="420" y="170"/>
                  </a:lnTo>
                  <a:lnTo>
                    <a:pt x="428" y="170"/>
                  </a:lnTo>
                  <a:lnTo>
                    <a:pt x="448" y="166"/>
                  </a:lnTo>
                  <a:lnTo>
                    <a:pt x="452" y="162"/>
                  </a:lnTo>
                  <a:lnTo>
                    <a:pt x="456" y="150"/>
                  </a:lnTo>
                  <a:lnTo>
                    <a:pt x="464" y="142"/>
                  </a:lnTo>
                  <a:lnTo>
                    <a:pt x="472" y="129"/>
                  </a:lnTo>
                  <a:lnTo>
                    <a:pt x="480" y="121"/>
                  </a:lnTo>
                  <a:lnTo>
                    <a:pt x="488" y="113"/>
                  </a:lnTo>
                  <a:lnTo>
                    <a:pt x="492" y="101"/>
                  </a:lnTo>
                  <a:lnTo>
                    <a:pt x="496" y="93"/>
                  </a:lnTo>
                  <a:lnTo>
                    <a:pt x="500" y="89"/>
                  </a:lnTo>
                  <a:lnTo>
                    <a:pt x="509" y="89"/>
                  </a:lnTo>
                  <a:lnTo>
                    <a:pt x="517" y="89"/>
                  </a:lnTo>
                  <a:lnTo>
                    <a:pt x="525" y="121"/>
                  </a:lnTo>
                  <a:lnTo>
                    <a:pt x="529" y="154"/>
                  </a:lnTo>
                  <a:lnTo>
                    <a:pt x="533" y="158"/>
                  </a:lnTo>
                  <a:lnTo>
                    <a:pt x="541" y="162"/>
                  </a:lnTo>
                  <a:lnTo>
                    <a:pt x="553" y="198"/>
                  </a:lnTo>
                  <a:lnTo>
                    <a:pt x="561" y="218"/>
                  </a:lnTo>
                  <a:lnTo>
                    <a:pt x="561" y="234"/>
                  </a:lnTo>
                  <a:lnTo>
                    <a:pt x="557" y="242"/>
                  </a:lnTo>
                  <a:lnTo>
                    <a:pt x="553" y="246"/>
                  </a:lnTo>
                  <a:lnTo>
                    <a:pt x="549" y="250"/>
                  </a:lnTo>
                  <a:lnTo>
                    <a:pt x="549" y="267"/>
                  </a:lnTo>
                  <a:lnTo>
                    <a:pt x="549" y="283"/>
                  </a:lnTo>
                  <a:lnTo>
                    <a:pt x="565" y="311"/>
                  </a:lnTo>
                  <a:lnTo>
                    <a:pt x="569" y="331"/>
                  </a:lnTo>
                  <a:lnTo>
                    <a:pt x="593" y="355"/>
                  </a:lnTo>
                  <a:lnTo>
                    <a:pt x="609" y="384"/>
                  </a:lnTo>
                  <a:lnTo>
                    <a:pt x="617" y="392"/>
                  </a:lnTo>
                  <a:lnTo>
                    <a:pt x="621" y="396"/>
                  </a:lnTo>
                  <a:lnTo>
                    <a:pt x="674" y="396"/>
                  </a:lnTo>
                  <a:lnTo>
                    <a:pt x="726" y="396"/>
                  </a:lnTo>
                  <a:lnTo>
                    <a:pt x="730" y="384"/>
                  </a:lnTo>
                  <a:lnTo>
                    <a:pt x="738" y="376"/>
                  </a:lnTo>
                  <a:lnTo>
                    <a:pt x="747" y="372"/>
                  </a:lnTo>
                  <a:lnTo>
                    <a:pt x="755" y="372"/>
                  </a:lnTo>
                  <a:lnTo>
                    <a:pt x="755" y="367"/>
                  </a:lnTo>
                  <a:lnTo>
                    <a:pt x="759" y="359"/>
                  </a:lnTo>
                  <a:lnTo>
                    <a:pt x="775" y="359"/>
                  </a:lnTo>
                  <a:lnTo>
                    <a:pt x="787" y="359"/>
                  </a:lnTo>
                  <a:lnTo>
                    <a:pt x="787" y="384"/>
                  </a:lnTo>
                  <a:lnTo>
                    <a:pt x="783" y="408"/>
                  </a:lnTo>
                  <a:lnTo>
                    <a:pt x="787" y="416"/>
                  </a:lnTo>
                  <a:lnTo>
                    <a:pt x="791" y="440"/>
                  </a:lnTo>
                  <a:lnTo>
                    <a:pt x="803" y="460"/>
                  </a:lnTo>
                  <a:lnTo>
                    <a:pt x="815" y="484"/>
                  </a:lnTo>
                  <a:lnTo>
                    <a:pt x="819" y="489"/>
                  </a:lnTo>
                  <a:lnTo>
                    <a:pt x="827" y="493"/>
                  </a:lnTo>
                  <a:lnTo>
                    <a:pt x="835" y="529"/>
                  </a:lnTo>
                  <a:lnTo>
                    <a:pt x="839" y="553"/>
                  </a:lnTo>
                  <a:lnTo>
                    <a:pt x="859" y="565"/>
                  </a:lnTo>
                  <a:lnTo>
                    <a:pt x="872" y="577"/>
                  </a:lnTo>
                  <a:lnTo>
                    <a:pt x="888" y="577"/>
                  </a:lnTo>
                  <a:lnTo>
                    <a:pt x="904" y="581"/>
                  </a:lnTo>
                  <a:lnTo>
                    <a:pt x="908" y="585"/>
                  </a:lnTo>
                  <a:lnTo>
                    <a:pt x="920" y="589"/>
                  </a:lnTo>
                  <a:lnTo>
                    <a:pt x="936" y="589"/>
                  </a:lnTo>
                  <a:lnTo>
                    <a:pt x="948" y="589"/>
                  </a:lnTo>
                  <a:lnTo>
                    <a:pt x="960" y="585"/>
                  </a:lnTo>
                  <a:lnTo>
                    <a:pt x="981" y="585"/>
                  </a:lnTo>
                  <a:lnTo>
                    <a:pt x="993" y="593"/>
                  </a:lnTo>
                  <a:lnTo>
                    <a:pt x="1005" y="601"/>
                  </a:lnTo>
                  <a:lnTo>
                    <a:pt x="1005" y="610"/>
                  </a:lnTo>
                  <a:lnTo>
                    <a:pt x="1009" y="610"/>
                  </a:lnTo>
                  <a:lnTo>
                    <a:pt x="1013" y="610"/>
                  </a:lnTo>
                  <a:lnTo>
                    <a:pt x="1017" y="610"/>
                  </a:lnTo>
                  <a:lnTo>
                    <a:pt x="1029" y="601"/>
                  </a:lnTo>
                  <a:lnTo>
                    <a:pt x="1033" y="593"/>
                  </a:lnTo>
                  <a:lnTo>
                    <a:pt x="1033" y="585"/>
                  </a:lnTo>
                  <a:lnTo>
                    <a:pt x="1037" y="585"/>
                  </a:lnTo>
                  <a:lnTo>
                    <a:pt x="1045" y="581"/>
                  </a:lnTo>
                  <a:lnTo>
                    <a:pt x="1057" y="581"/>
                  </a:lnTo>
                  <a:lnTo>
                    <a:pt x="1069" y="577"/>
                  </a:lnTo>
                  <a:lnTo>
                    <a:pt x="1081" y="589"/>
                  </a:lnTo>
                  <a:lnTo>
                    <a:pt x="1093" y="614"/>
                  </a:lnTo>
                  <a:lnTo>
                    <a:pt x="1098" y="638"/>
                  </a:lnTo>
                  <a:lnTo>
                    <a:pt x="1098" y="642"/>
                  </a:lnTo>
                  <a:lnTo>
                    <a:pt x="1122" y="642"/>
                  </a:lnTo>
                  <a:lnTo>
                    <a:pt x="1142" y="650"/>
                  </a:lnTo>
                  <a:lnTo>
                    <a:pt x="1150" y="642"/>
                  </a:lnTo>
                  <a:lnTo>
                    <a:pt x="1162" y="642"/>
                  </a:lnTo>
                  <a:lnTo>
                    <a:pt x="1162" y="638"/>
                  </a:lnTo>
                  <a:lnTo>
                    <a:pt x="1174" y="638"/>
                  </a:lnTo>
                  <a:lnTo>
                    <a:pt x="1186" y="638"/>
                  </a:lnTo>
                  <a:lnTo>
                    <a:pt x="1186" y="642"/>
                  </a:lnTo>
                  <a:lnTo>
                    <a:pt x="1190" y="650"/>
                  </a:lnTo>
                  <a:lnTo>
                    <a:pt x="1190" y="666"/>
                  </a:lnTo>
                  <a:lnTo>
                    <a:pt x="1190" y="686"/>
                  </a:lnTo>
                  <a:lnTo>
                    <a:pt x="1186" y="694"/>
                  </a:lnTo>
                  <a:lnTo>
                    <a:pt x="1178" y="702"/>
                  </a:lnTo>
                  <a:lnTo>
                    <a:pt x="1178" y="739"/>
                  </a:lnTo>
                  <a:lnTo>
                    <a:pt x="1178" y="775"/>
                  </a:lnTo>
                  <a:lnTo>
                    <a:pt x="1186" y="779"/>
                  </a:lnTo>
                  <a:lnTo>
                    <a:pt x="1190" y="787"/>
                  </a:lnTo>
                  <a:lnTo>
                    <a:pt x="1194" y="799"/>
                  </a:lnTo>
                  <a:lnTo>
                    <a:pt x="1194" y="827"/>
                  </a:lnTo>
                  <a:lnTo>
                    <a:pt x="1194" y="848"/>
                  </a:lnTo>
                  <a:lnTo>
                    <a:pt x="1194" y="876"/>
                  </a:lnTo>
                  <a:lnTo>
                    <a:pt x="1198" y="896"/>
                  </a:lnTo>
                  <a:lnTo>
                    <a:pt x="1206" y="908"/>
                  </a:lnTo>
                  <a:lnTo>
                    <a:pt x="1223" y="961"/>
                  </a:lnTo>
                  <a:lnTo>
                    <a:pt x="1239" y="977"/>
                  </a:lnTo>
                  <a:lnTo>
                    <a:pt x="1251" y="993"/>
                  </a:lnTo>
                  <a:lnTo>
                    <a:pt x="1255" y="1005"/>
                  </a:lnTo>
                  <a:lnTo>
                    <a:pt x="1259" y="1025"/>
                  </a:lnTo>
                  <a:lnTo>
                    <a:pt x="1255" y="1041"/>
                  </a:lnTo>
                  <a:lnTo>
                    <a:pt x="1255" y="1061"/>
                  </a:lnTo>
                  <a:lnTo>
                    <a:pt x="1251" y="1061"/>
                  </a:lnTo>
                  <a:lnTo>
                    <a:pt x="1251" y="1074"/>
                  </a:lnTo>
                  <a:lnTo>
                    <a:pt x="1243" y="1074"/>
                  </a:lnTo>
                  <a:lnTo>
                    <a:pt x="1239" y="1078"/>
                  </a:lnTo>
                  <a:lnTo>
                    <a:pt x="1231" y="1078"/>
                  </a:lnTo>
                  <a:lnTo>
                    <a:pt x="1214" y="1078"/>
                  </a:lnTo>
                  <a:lnTo>
                    <a:pt x="1206" y="1074"/>
                  </a:lnTo>
                  <a:lnTo>
                    <a:pt x="1194" y="1061"/>
                  </a:lnTo>
                  <a:lnTo>
                    <a:pt x="1170" y="1061"/>
                  </a:lnTo>
                  <a:lnTo>
                    <a:pt x="1146" y="1061"/>
                  </a:lnTo>
                  <a:lnTo>
                    <a:pt x="1118" y="1065"/>
                  </a:lnTo>
                  <a:lnTo>
                    <a:pt x="1093" y="1074"/>
                  </a:lnTo>
                  <a:lnTo>
                    <a:pt x="1085" y="1090"/>
                  </a:lnTo>
                  <a:lnTo>
                    <a:pt x="1073" y="1134"/>
                  </a:lnTo>
                  <a:lnTo>
                    <a:pt x="1069" y="1154"/>
                  </a:lnTo>
                  <a:lnTo>
                    <a:pt x="1061" y="1174"/>
                  </a:lnTo>
                  <a:lnTo>
                    <a:pt x="1049" y="1174"/>
                  </a:lnTo>
                  <a:lnTo>
                    <a:pt x="1037" y="1182"/>
                  </a:lnTo>
                  <a:lnTo>
                    <a:pt x="1029" y="1191"/>
                  </a:lnTo>
                  <a:lnTo>
                    <a:pt x="1013" y="1191"/>
                  </a:lnTo>
                  <a:lnTo>
                    <a:pt x="1005" y="1191"/>
                  </a:lnTo>
                  <a:lnTo>
                    <a:pt x="993" y="1186"/>
                  </a:lnTo>
                  <a:lnTo>
                    <a:pt x="981" y="1174"/>
                  </a:lnTo>
                  <a:lnTo>
                    <a:pt x="976" y="1166"/>
                  </a:lnTo>
                  <a:lnTo>
                    <a:pt x="972" y="1154"/>
                  </a:lnTo>
                  <a:lnTo>
                    <a:pt x="952" y="1154"/>
                  </a:lnTo>
                  <a:lnTo>
                    <a:pt x="940" y="1150"/>
                  </a:lnTo>
                  <a:lnTo>
                    <a:pt x="928" y="1154"/>
                  </a:lnTo>
                  <a:lnTo>
                    <a:pt x="920" y="1154"/>
                  </a:lnTo>
                  <a:lnTo>
                    <a:pt x="904" y="1174"/>
                  </a:lnTo>
                  <a:lnTo>
                    <a:pt x="888" y="1191"/>
                  </a:lnTo>
                  <a:lnTo>
                    <a:pt x="855" y="1195"/>
                  </a:lnTo>
                  <a:lnTo>
                    <a:pt x="779" y="1199"/>
                  </a:lnTo>
                  <a:lnTo>
                    <a:pt x="759" y="1207"/>
                  </a:lnTo>
                  <a:lnTo>
                    <a:pt x="738" y="1223"/>
                  </a:lnTo>
                  <a:lnTo>
                    <a:pt x="722" y="1255"/>
                  </a:lnTo>
                  <a:lnTo>
                    <a:pt x="710" y="1275"/>
                  </a:lnTo>
                  <a:lnTo>
                    <a:pt x="698" y="1283"/>
                  </a:lnTo>
                  <a:lnTo>
                    <a:pt x="686" y="1299"/>
                  </a:lnTo>
                  <a:lnTo>
                    <a:pt x="690" y="1340"/>
                  </a:lnTo>
                  <a:lnTo>
                    <a:pt x="690" y="1384"/>
                  </a:lnTo>
                  <a:lnTo>
                    <a:pt x="690" y="1392"/>
                  </a:lnTo>
                  <a:lnTo>
                    <a:pt x="686" y="1408"/>
                  </a:lnTo>
                  <a:lnTo>
                    <a:pt x="674" y="1412"/>
                  </a:lnTo>
                  <a:lnTo>
                    <a:pt x="666" y="1416"/>
                  </a:lnTo>
                  <a:lnTo>
                    <a:pt x="630" y="1416"/>
                  </a:lnTo>
                  <a:lnTo>
                    <a:pt x="593" y="1420"/>
                  </a:lnTo>
                  <a:close/>
                </a:path>
              </a:pathLst>
            </a:custGeom>
            <a:solidFill>
              <a:srgbClr val="C00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00" b="1">
                <a:latin typeface="+mn-lt"/>
                <a:cs typeface="+mn-cs"/>
              </a:endParaRPr>
            </a:p>
          </p:txBody>
        </p:sp>
        <p:grpSp>
          <p:nvGrpSpPr>
            <p:cNvPr id="145" name="Группа 144"/>
            <p:cNvGrpSpPr/>
            <p:nvPr/>
          </p:nvGrpSpPr>
          <p:grpSpPr>
            <a:xfrm>
              <a:off x="7018539" y="2743697"/>
              <a:ext cx="1054117" cy="930679"/>
              <a:chOff x="7018539" y="2743001"/>
              <a:chExt cx="1054117" cy="930679"/>
            </a:xfrm>
            <a:solidFill>
              <a:srgbClr val="FFFF99"/>
            </a:solidFill>
            <a:effectLst/>
          </p:grpSpPr>
          <p:sp>
            <p:nvSpPr>
              <p:cNvPr id="205" name="Freeform 54"/>
              <p:cNvSpPr>
                <a:spLocks/>
              </p:cNvSpPr>
              <p:nvPr/>
            </p:nvSpPr>
            <p:spPr bwMode="auto">
              <a:xfrm>
                <a:off x="7018539" y="2808028"/>
                <a:ext cx="1054117" cy="865652"/>
              </a:xfrm>
              <a:custGeom>
                <a:avLst/>
                <a:gdLst>
                  <a:gd name="T0" fmla="*/ 1966 w 1174"/>
                  <a:gd name="T1" fmla="*/ 2013 h 972"/>
                  <a:gd name="T2" fmla="*/ 1803 w 1174"/>
                  <a:gd name="T3" fmla="*/ 1909 h 972"/>
                  <a:gd name="T4" fmla="*/ 1638 w 1174"/>
                  <a:gd name="T5" fmla="*/ 1847 h 972"/>
                  <a:gd name="T6" fmla="*/ 1517 w 1174"/>
                  <a:gd name="T7" fmla="*/ 1830 h 972"/>
                  <a:gd name="T8" fmla="*/ 1421 w 1174"/>
                  <a:gd name="T9" fmla="*/ 1987 h 972"/>
                  <a:gd name="T10" fmla="*/ 1335 w 1174"/>
                  <a:gd name="T11" fmla="*/ 2030 h 972"/>
                  <a:gd name="T12" fmla="*/ 1257 w 1174"/>
                  <a:gd name="T13" fmla="*/ 2021 h 972"/>
                  <a:gd name="T14" fmla="*/ 1118 w 1174"/>
                  <a:gd name="T15" fmla="*/ 1927 h 972"/>
                  <a:gd name="T16" fmla="*/ 1040 w 1174"/>
                  <a:gd name="T17" fmla="*/ 1821 h 972"/>
                  <a:gd name="T18" fmla="*/ 926 w 1174"/>
                  <a:gd name="T19" fmla="*/ 1778 h 972"/>
                  <a:gd name="T20" fmla="*/ 763 w 1174"/>
                  <a:gd name="T21" fmla="*/ 1658 h 972"/>
                  <a:gd name="T22" fmla="*/ 597 w 1174"/>
                  <a:gd name="T23" fmla="*/ 1552 h 972"/>
                  <a:gd name="T24" fmla="*/ 511 w 1174"/>
                  <a:gd name="T25" fmla="*/ 1441 h 972"/>
                  <a:gd name="T26" fmla="*/ 458 w 1174"/>
                  <a:gd name="T27" fmla="*/ 1363 h 972"/>
                  <a:gd name="T28" fmla="*/ 363 w 1174"/>
                  <a:gd name="T29" fmla="*/ 1206 h 972"/>
                  <a:gd name="T30" fmla="*/ 312 w 1174"/>
                  <a:gd name="T31" fmla="*/ 1112 h 972"/>
                  <a:gd name="T32" fmla="*/ 380 w 1174"/>
                  <a:gd name="T33" fmla="*/ 937 h 972"/>
                  <a:gd name="T34" fmla="*/ 303 w 1174"/>
                  <a:gd name="T35" fmla="*/ 841 h 972"/>
                  <a:gd name="T36" fmla="*/ 17 w 1174"/>
                  <a:gd name="T37" fmla="*/ 781 h 972"/>
                  <a:gd name="T38" fmla="*/ 9 w 1174"/>
                  <a:gd name="T39" fmla="*/ 686 h 972"/>
                  <a:gd name="T40" fmla="*/ 286 w 1174"/>
                  <a:gd name="T41" fmla="*/ 460 h 972"/>
                  <a:gd name="T42" fmla="*/ 320 w 1174"/>
                  <a:gd name="T43" fmla="*/ 174 h 972"/>
                  <a:gd name="T44" fmla="*/ 372 w 1174"/>
                  <a:gd name="T45" fmla="*/ 95 h 972"/>
                  <a:gd name="T46" fmla="*/ 441 w 1174"/>
                  <a:gd name="T47" fmla="*/ 0 h 972"/>
                  <a:gd name="T48" fmla="*/ 511 w 1174"/>
                  <a:gd name="T49" fmla="*/ 60 h 972"/>
                  <a:gd name="T50" fmla="*/ 563 w 1174"/>
                  <a:gd name="T51" fmla="*/ 140 h 972"/>
                  <a:gd name="T52" fmla="*/ 763 w 1174"/>
                  <a:gd name="T53" fmla="*/ 286 h 972"/>
                  <a:gd name="T54" fmla="*/ 1066 w 1174"/>
                  <a:gd name="T55" fmla="*/ 260 h 972"/>
                  <a:gd name="T56" fmla="*/ 1212 w 1174"/>
                  <a:gd name="T57" fmla="*/ 286 h 972"/>
                  <a:gd name="T58" fmla="*/ 1274 w 1174"/>
                  <a:gd name="T59" fmla="*/ 383 h 972"/>
                  <a:gd name="T60" fmla="*/ 1178 w 1174"/>
                  <a:gd name="T61" fmla="*/ 529 h 972"/>
                  <a:gd name="T62" fmla="*/ 1178 w 1174"/>
                  <a:gd name="T63" fmla="*/ 660 h 972"/>
                  <a:gd name="T64" fmla="*/ 1395 w 1174"/>
                  <a:gd name="T65" fmla="*/ 634 h 972"/>
                  <a:gd name="T66" fmla="*/ 1455 w 1174"/>
                  <a:gd name="T67" fmla="*/ 520 h 972"/>
                  <a:gd name="T68" fmla="*/ 1577 w 1174"/>
                  <a:gd name="T69" fmla="*/ 383 h 972"/>
                  <a:gd name="T70" fmla="*/ 1638 w 1174"/>
                  <a:gd name="T71" fmla="*/ 400 h 972"/>
                  <a:gd name="T72" fmla="*/ 1880 w 1174"/>
                  <a:gd name="T73" fmla="*/ 529 h 972"/>
                  <a:gd name="T74" fmla="*/ 1932 w 1174"/>
                  <a:gd name="T75" fmla="*/ 634 h 972"/>
                  <a:gd name="T76" fmla="*/ 2106 w 1174"/>
                  <a:gd name="T77" fmla="*/ 669 h 972"/>
                  <a:gd name="T78" fmla="*/ 2280 w 1174"/>
                  <a:gd name="T79" fmla="*/ 660 h 972"/>
                  <a:gd name="T80" fmla="*/ 2349 w 1174"/>
                  <a:gd name="T81" fmla="*/ 781 h 972"/>
                  <a:gd name="T82" fmla="*/ 2366 w 1174"/>
                  <a:gd name="T83" fmla="*/ 841 h 972"/>
                  <a:gd name="T84" fmla="*/ 2254 w 1174"/>
                  <a:gd name="T85" fmla="*/ 1023 h 972"/>
                  <a:gd name="T86" fmla="*/ 2235 w 1174"/>
                  <a:gd name="T87" fmla="*/ 1172 h 972"/>
                  <a:gd name="T88" fmla="*/ 2123 w 1174"/>
                  <a:gd name="T89" fmla="*/ 1398 h 972"/>
                  <a:gd name="T90" fmla="*/ 2140 w 1174"/>
                  <a:gd name="T91" fmla="*/ 1535 h 972"/>
                  <a:gd name="T92" fmla="*/ 2263 w 1174"/>
                  <a:gd name="T93" fmla="*/ 1484 h 972"/>
                  <a:gd name="T94" fmla="*/ 2375 w 1174"/>
                  <a:gd name="T95" fmla="*/ 1718 h 972"/>
                  <a:gd name="T96" fmla="*/ 2461 w 1174"/>
                  <a:gd name="T97" fmla="*/ 1778 h 972"/>
                  <a:gd name="T98" fmla="*/ 2523 w 1174"/>
                  <a:gd name="T99" fmla="*/ 1884 h 972"/>
                  <a:gd name="T100" fmla="*/ 2443 w 1174"/>
                  <a:gd name="T101" fmla="*/ 1944 h 972"/>
                  <a:gd name="T102" fmla="*/ 2375 w 1174"/>
                  <a:gd name="T103" fmla="*/ 2004 h 972"/>
                  <a:gd name="T104" fmla="*/ 2226 w 1174"/>
                  <a:gd name="T105" fmla="*/ 1952 h 972"/>
                  <a:gd name="T106" fmla="*/ 2175 w 1174"/>
                  <a:gd name="T107" fmla="*/ 2030 h 972"/>
                  <a:gd name="T108" fmla="*/ 2072 w 1174"/>
                  <a:gd name="T109" fmla="*/ 2090 h 97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174"/>
                  <a:gd name="T166" fmla="*/ 0 h 972"/>
                  <a:gd name="T167" fmla="*/ 1174 w 1174"/>
                  <a:gd name="T168" fmla="*/ 972 h 97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174" h="972">
                    <a:moveTo>
                      <a:pt x="944" y="972"/>
                    </a:moveTo>
                    <a:lnTo>
                      <a:pt x="936" y="964"/>
                    </a:lnTo>
                    <a:lnTo>
                      <a:pt x="927" y="964"/>
                    </a:lnTo>
                    <a:lnTo>
                      <a:pt x="923" y="948"/>
                    </a:lnTo>
                    <a:lnTo>
                      <a:pt x="915" y="936"/>
                    </a:lnTo>
                    <a:lnTo>
                      <a:pt x="903" y="908"/>
                    </a:lnTo>
                    <a:lnTo>
                      <a:pt x="899" y="900"/>
                    </a:lnTo>
                    <a:lnTo>
                      <a:pt x="891" y="896"/>
                    </a:lnTo>
                    <a:lnTo>
                      <a:pt x="883" y="892"/>
                    </a:lnTo>
                    <a:lnTo>
                      <a:pt x="839" y="888"/>
                    </a:lnTo>
                    <a:lnTo>
                      <a:pt x="823" y="880"/>
                    </a:lnTo>
                    <a:lnTo>
                      <a:pt x="815" y="868"/>
                    </a:lnTo>
                    <a:lnTo>
                      <a:pt x="798" y="859"/>
                    </a:lnTo>
                    <a:lnTo>
                      <a:pt x="782" y="859"/>
                    </a:lnTo>
                    <a:lnTo>
                      <a:pt x="762" y="859"/>
                    </a:lnTo>
                    <a:lnTo>
                      <a:pt x="742" y="851"/>
                    </a:lnTo>
                    <a:lnTo>
                      <a:pt x="734" y="851"/>
                    </a:lnTo>
                    <a:lnTo>
                      <a:pt x="722" y="851"/>
                    </a:lnTo>
                    <a:lnTo>
                      <a:pt x="714" y="851"/>
                    </a:lnTo>
                    <a:lnTo>
                      <a:pt x="706" y="851"/>
                    </a:lnTo>
                    <a:lnTo>
                      <a:pt x="702" y="851"/>
                    </a:lnTo>
                    <a:lnTo>
                      <a:pt x="677" y="892"/>
                    </a:lnTo>
                    <a:lnTo>
                      <a:pt x="665" y="908"/>
                    </a:lnTo>
                    <a:lnTo>
                      <a:pt x="665" y="916"/>
                    </a:lnTo>
                    <a:lnTo>
                      <a:pt x="661" y="924"/>
                    </a:lnTo>
                    <a:lnTo>
                      <a:pt x="649" y="928"/>
                    </a:lnTo>
                    <a:lnTo>
                      <a:pt x="645" y="932"/>
                    </a:lnTo>
                    <a:lnTo>
                      <a:pt x="641" y="936"/>
                    </a:lnTo>
                    <a:lnTo>
                      <a:pt x="637" y="940"/>
                    </a:lnTo>
                    <a:lnTo>
                      <a:pt x="621" y="944"/>
                    </a:lnTo>
                    <a:lnTo>
                      <a:pt x="613" y="948"/>
                    </a:lnTo>
                    <a:lnTo>
                      <a:pt x="597" y="948"/>
                    </a:lnTo>
                    <a:lnTo>
                      <a:pt x="585" y="948"/>
                    </a:lnTo>
                    <a:lnTo>
                      <a:pt x="585" y="944"/>
                    </a:lnTo>
                    <a:lnTo>
                      <a:pt x="585" y="940"/>
                    </a:lnTo>
                    <a:lnTo>
                      <a:pt x="560" y="932"/>
                    </a:lnTo>
                    <a:lnTo>
                      <a:pt x="536" y="924"/>
                    </a:lnTo>
                    <a:lnTo>
                      <a:pt x="528" y="912"/>
                    </a:lnTo>
                    <a:lnTo>
                      <a:pt x="524" y="904"/>
                    </a:lnTo>
                    <a:lnTo>
                      <a:pt x="520" y="896"/>
                    </a:lnTo>
                    <a:lnTo>
                      <a:pt x="512" y="876"/>
                    </a:lnTo>
                    <a:lnTo>
                      <a:pt x="508" y="868"/>
                    </a:lnTo>
                    <a:lnTo>
                      <a:pt x="496" y="851"/>
                    </a:lnTo>
                    <a:lnTo>
                      <a:pt x="492" y="851"/>
                    </a:lnTo>
                    <a:lnTo>
                      <a:pt x="484" y="847"/>
                    </a:lnTo>
                    <a:lnTo>
                      <a:pt x="468" y="847"/>
                    </a:lnTo>
                    <a:lnTo>
                      <a:pt x="447" y="847"/>
                    </a:lnTo>
                    <a:lnTo>
                      <a:pt x="443" y="839"/>
                    </a:lnTo>
                    <a:lnTo>
                      <a:pt x="431" y="835"/>
                    </a:lnTo>
                    <a:lnTo>
                      <a:pt x="431" y="827"/>
                    </a:lnTo>
                    <a:lnTo>
                      <a:pt x="427" y="815"/>
                    </a:lnTo>
                    <a:lnTo>
                      <a:pt x="407" y="787"/>
                    </a:lnTo>
                    <a:lnTo>
                      <a:pt x="395" y="775"/>
                    </a:lnTo>
                    <a:lnTo>
                      <a:pt x="375" y="775"/>
                    </a:lnTo>
                    <a:lnTo>
                      <a:pt x="355" y="771"/>
                    </a:lnTo>
                    <a:lnTo>
                      <a:pt x="339" y="763"/>
                    </a:lnTo>
                    <a:lnTo>
                      <a:pt x="318" y="751"/>
                    </a:lnTo>
                    <a:lnTo>
                      <a:pt x="314" y="738"/>
                    </a:lnTo>
                    <a:lnTo>
                      <a:pt x="302" y="730"/>
                    </a:lnTo>
                    <a:lnTo>
                      <a:pt x="278" y="722"/>
                    </a:lnTo>
                    <a:lnTo>
                      <a:pt x="258" y="714"/>
                    </a:lnTo>
                    <a:lnTo>
                      <a:pt x="254" y="702"/>
                    </a:lnTo>
                    <a:lnTo>
                      <a:pt x="246" y="690"/>
                    </a:lnTo>
                    <a:lnTo>
                      <a:pt x="238" y="678"/>
                    </a:lnTo>
                    <a:lnTo>
                      <a:pt x="238" y="670"/>
                    </a:lnTo>
                    <a:lnTo>
                      <a:pt x="230" y="658"/>
                    </a:lnTo>
                    <a:lnTo>
                      <a:pt x="222" y="646"/>
                    </a:lnTo>
                    <a:lnTo>
                      <a:pt x="222" y="642"/>
                    </a:lnTo>
                    <a:lnTo>
                      <a:pt x="213" y="638"/>
                    </a:lnTo>
                    <a:lnTo>
                      <a:pt x="213" y="634"/>
                    </a:lnTo>
                    <a:lnTo>
                      <a:pt x="205" y="629"/>
                    </a:lnTo>
                    <a:lnTo>
                      <a:pt x="205" y="621"/>
                    </a:lnTo>
                    <a:lnTo>
                      <a:pt x="201" y="605"/>
                    </a:lnTo>
                    <a:lnTo>
                      <a:pt x="181" y="585"/>
                    </a:lnTo>
                    <a:lnTo>
                      <a:pt x="169" y="561"/>
                    </a:lnTo>
                    <a:lnTo>
                      <a:pt x="157" y="557"/>
                    </a:lnTo>
                    <a:lnTo>
                      <a:pt x="145" y="549"/>
                    </a:lnTo>
                    <a:lnTo>
                      <a:pt x="145" y="545"/>
                    </a:lnTo>
                    <a:lnTo>
                      <a:pt x="145" y="533"/>
                    </a:lnTo>
                    <a:lnTo>
                      <a:pt x="145" y="517"/>
                    </a:lnTo>
                    <a:lnTo>
                      <a:pt x="145" y="492"/>
                    </a:lnTo>
                    <a:lnTo>
                      <a:pt x="153" y="476"/>
                    </a:lnTo>
                    <a:lnTo>
                      <a:pt x="157" y="452"/>
                    </a:lnTo>
                    <a:lnTo>
                      <a:pt x="169" y="444"/>
                    </a:lnTo>
                    <a:lnTo>
                      <a:pt x="177" y="436"/>
                    </a:lnTo>
                    <a:lnTo>
                      <a:pt x="177" y="428"/>
                    </a:lnTo>
                    <a:lnTo>
                      <a:pt x="177" y="420"/>
                    </a:lnTo>
                    <a:lnTo>
                      <a:pt x="173" y="404"/>
                    </a:lnTo>
                    <a:lnTo>
                      <a:pt x="169" y="391"/>
                    </a:lnTo>
                    <a:lnTo>
                      <a:pt x="141" y="391"/>
                    </a:lnTo>
                    <a:lnTo>
                      <a:pt x="105" y="387"/>
                    </a:lnTo>
                    <a:lnTo>
                      <a:pt x="96" y="379"/>
                    </a:lnTo>
                    <a:lnTo>
                      <a:pt x="72" y="367"/>
                    </a:lnTo>
                    <a:lnTo>
                      <a:pt x="40" y="367"/>
                    </a:lnTo>
                    <a:lnTo>
                      <a:pt x="8" y="363"/>
                    </a:lnTo>
                    <a:lnTo>
                      <a:pt x="4" y="355"/>
                    </a:lnTo>
                    <a:lnTo>
                      <a:pt x="0" y="355"/>
                    </a:lnTo>
                    <a:lnTo>
                      <a:pt x="0" y="339"/>
                    </a:lnTo>
                    <a:lnTo>
                      <a:pt x="0" y="327"/>
                    </a:lnTo>
                    <a:lnTo>
                      <a:pt x="4" y="319"/>
                    </a:lnTo>
                    <a:lnTo>
                      <a:pt x="8" y="270"/>
                    </a:lnTo>
                    <a:lnTo>
                      <a:pt x="16" y="234"/>
                    </a:lnTo>
                    <a:lnTo>
                      <a:pt x="56" y="226"/>
                    </a:lnTo>
                    <a:lnTo>
                      <a:pt x="100" y="222"/>
                    </a:lnTo>
                    <a:lnTo>
                      <a:pt x="133" y="214"/>
                    </a:lnTo>
                    <a:lnTo>
                      <a:pt x="145" y="206"/>
                    </a:lnTo>
                    <a:lnTo>
                      <a:pt x="145" y="141"/>
                    </a:lnTo>
                    <a:lnTo>
                      <a:pt x="145" y="125"/>
                    </a:lnTo>
                    <a:lnTo>
                      <a:pt x="145" y="101"/>
                    </a:lnTo>
                    <a:lnTo>
                      <a:pt x="149" y="81"/>
                    </a:lnTo>
                    <a:lnTo>
                      <a:pt x="157" y="81"/>
                    </a:lnTo>
                    <a:lnTo>
                      <a:pt x="165" y="81"/>
                    </a:lnTo>
                    <a:lnTo>
                      <a:pt x="169" y="77"/>
                    </a:lnTo>
                    <a:lnTo>
                      <a:pt x="173" y="73"/>
                    </a:lnTo>
                    <a:lnTo>
                      <a:pt x="173" y="44"/>
                    </a:lnTo>
                    <a:lnTo>
                      <a:pt x="173" y="24"/>
                    </a:lnTo>
                    <a:lnTo>
                      <a:pt x="169" y="16"/>
                    </a:lnTo>
                    <a:lnTo>
                      <a:pt x="169" y="4"/>
                    </a:lnTo>
                    <a:lnTo>
                      <a:pt x="185" y="0"/>
                    </a:lnTo>
                    <a:lnTo>
                      <a:pt x="205" y="0"/>
                    </a:lnTo>
                    <a:lnTo>
                      <a:pt x="213" y="0"/>
                    </a:lnTo>
                    <a:lnTo>
                      <a:pt x="222" y="0"/>
                    </a:lnTo>
                    <a:lnTo>
                      <a:pt x="230" y="8"/>
                    </a:lnTo>
                    <a:lnTo>
                      <a:pt x="238" y="16"/>
                    </a:lnTo>
                    <a:lnTo>
                      <a:pt x="238" y="28"/>
                    </a:lnTo>
                    <a:lnTo>
                      <a:pt x="246" y="40"/>
                    </a:lnTo>
                    <a:lnTo>
                      <a:pt x="250" y="44"/>
                    </a:lnTo>
                    <a:lnTo>
                      <a:pt x="254" y="44"/>
                    </a:lnTo>
                    <a:lnTo>
                      <a:pt x="258" y="57"/>
                    </a:lnTo>
                    <a:lnTo>
                      <a:pt x="262" y="65"/>
                    </a:lnTo>
                    <a:lnTo>
                      <a:pt x="274" y="85"/>
                    </a:lnTo>
                    <a:lnTo>
                      <a:pt x="290" y="113"/>
                    </a:lnTo>
                    <a:lnTo>
                      <a:pt x="302" y="125"/>
                    </a:lnTo>
                    <a:lnTo>
                      <a:pt x="318" y="133"/>
                    </a:lnTo>
                    <a:lnTo>
                      <a:pt x="355" y="133"/>
                    </a:lnTo>
                    <a:lnTo>
                      <a:pt x="391" y="133"/>
                    </a:lnTo>
                    <a:lnTo>
                      <a:pt x="427" y="133"/>
                    </a:lnTo>
                    <a:lnTo>
                      <a:pt x="460" y="133"/>
                    </a:lnTo>
                    <a:lnTo>
                      <a:pt x="480" y="129"/>
                    </a:lnTo>
                    <a:lnTo>
                      <a:pt x="496" y="121"/>
                    </a:lnTo>
                    <a:lnTo>
                      <a:pt x="524" y="121"/>
                    </a:lnTo>
                    <a:lnTo>
                      <a:pt x="544" y="125"/>
                    </a:lnTo>
                    <a:lnTo>
                      <a:pt x="548" y="129"/>
                    </a:lnTo>
                    <a:lnTo>
                      <a:pt x="556" y="133"/>
                    </a:lnTo>
                    <a:lnTo>
                      <a:pt x="564" y="133"/>
                    </a:lnTo>
                    <a:lnTo>
                      <a:pt x="577" y="141"/>
                    </a:lnTo>
                    <a:lnTo>
                      <a:pt x="585" y="149"/>
                    </a:lnTo>
                    <a:lnTo>
                      <a:pt x="589" y="153"/>
                    </a:lnTo>
                    <a:lnTo>
                      <a:pt x="593" y="166"/>
                    </a:lnTo>
                    <a:lnTo>
                      <a:pt x="593" y="178"/>
                    </a:lnTo>
                    <a:lnTo>
                      <a:pt x="593" y="190"/>
                    </a:lnTo>
                    <a:lnTo>
                      <a:pt x="589" y="194"/>
                    </a:lnTo>
                    <a:lnTo>
                      <a:pt x="572" y="222"/>
                    </a:lnTo>
                    <a:lnTo>
                      <a:pt x="560" y="242"/>
                    </a:lnTo>
                    <a:lnTo>
                      <a:pt x="548" y="246"/>
                    </a:lnTo>
                    <a:lnTo>
                      <a:pt x="548" y="258"/>
                    </a:lnTo>
                    <a:lnTo>
                      <a:pt x="544" y="270"/>
                    </a:lnTo>
                    <a:lnTo>
                      <a:pt x="544" y="291"/>
                    </a:lnTo>
                    <a:lnTo>
                      <a:pt x="544" y="303"/>
                    </a:lnTo>
                    <a:lnTo>
                      <a:pt x="548" y="307"/>
                    </a:lnTo>
                    <a:lnTo>
                      <a:pt x="556" y="311"/>
                    </a:lnTo>
                    <a:lnTo>
                      <a:pt x="568" y="311"/>
                    </a:lnTo>
                    <a:lnTo>
                      <a:pt x="585" y="315"/>
                    </a:lnTo>
                    <a:lnTo>
                      <a:pt x="605" y="307"/>
                    </a:lnTo>
                    <a:lnTo>
                      <a:pt x="649" y="295"/>
                    </a:lnTo>
                    <a:lnTo>
                      <a:pt x="661" y="283"/>
                    </a:lnTo>
                    <a:lnTo>
                      <a:pt x="669" y="278"/>
                    </a:lnTo>
                    <a:lnTo>
                      <a:pt x="669" y="258"/>
                    </a:lnTo>
                    <a:lnTo>
                      <a:pt x="673" y="242"/>
                    </a:lnTo>
                    <a:lnTo>
                      <a:pt x="677" y="242"/>
                    </a:lnTo>
                    <a:lnTo>
                      <a:pt x="681" y="234"/>
                    </a:lnTo>
                    <a:lnTo>
                      <a:pt x="714" y="206"/>
                    </a:lnTo>
                    <a:lnTo>
                      <a:pt x="722" y="190"/>
                    </a:lnTo>
                    <a:lnTo>
                      <a:pt x="730" y="186"/>
                    </a:lnTo>
                    <a:lnTo>
                      <a:pt x="734" y="178"/>
                    </a:lnTo>
                    <a:lnTo>
                      <a:pt x="742" y="178"/>
                    </a:lnTo>
                    <a:lnTo>
                      <a:pt x="750" y="178"/>
                    </a:lnTo>
                    <a:lnTo>
                      <a:pt x="754" y="182"/>
                    </a:lnTo>
                    <a:lnTo>
                      <a:pt x="758" y="182"/>
                    </a:lnTo>
                    <a:lnTo>
                      <a:pt x="762" y="186"/>
                    </a:lnTo>
                    <a:lnTo>
                      <a:pt x="762" y="194"/>
                    </a:lnTo>
                    <a:lnTo>
                      <a:pt x="790" y="218"/>
                    </a:lnTo>
                    <a:lnTo>
                      <a:pt x="819" y="242"/>
                    </a:lnTo>
                    <a:lnTo>
                      <a:pt x="847" y="242"/>
                    </a:lnTo>
                    <a:lnTo>
                      <a:pt x="875" y="246"/>
                    </a:lnTo>
                    <a:lnTo>
                      <a:pt x="875" y="258"/>
                    </a:lnTo>
                    <a:lnTo>
                      <a:pt x="879" y="270"/>
                    </a:lnTo>
                    <a:lnTo>
                      <a:pt x="883" y="278"/>
                    </a:lnTo>
                    <a:lnTo>
                      <a:pt x="891" y="291"/>
                    </a:lnTo>
                    <a:lnTo>
                      <a:pt x="899" y="295"/>
                    </a:lnTo>
                    <a:lnTo>
                      <a:pt x="911" y="303"/>
                    </a:lnTo>
                    <a:lnTo>
                      <a:pt x="927" y="307"/>
                    </a:lnTo>
                    <a:lnTo>
                      <a:pt x="948" y="311"/>
                    </a:lnTo>
                    <a:lnTo>
                      <a:pt x="960" y="311"/>
                    </a:lnTo>
                    <a:lnTo>
                      <a:pt x="980" y="311"/>
                    </a:lnTo>
                    <a:lnTo>
                      <a:pt x="984" y="307"/>
                    </a:lnTo>
                    <a:lnTo>
                      <a:pt x="988" y="295"/>
                    </a:lnTo>
                    <a:lnTo>
                      <a:pt x="1008" y="295"/>
                    </a:lnTo>
                    <a:lnTo>
                      <a:pt x="1061" y="303"/>
                    </a:lnTo>
                    <a:lnTo>
                      <a:pt x="1061" y="307"/>
                    </a:lnTo>
                    <a:lnTo>
                      <a:pt x="1065" y="307"/>
                    </a:lnTo>
                    <a:lnTo>
                      <a:pt x="1065" y="331"/>
                    </a:lnTo>
                    <a:lnTo>
                      <a:pt x="1069" y="347"/>
                    </a:lnTo>
                    <a:lnTo>
                      <a:pt x="1077" y="355"/>
                    </a:lnTo>
                    <a:lnTo>
                      <a:pt x="1093" y="363"/>
                    </a:lnTo>
                    <a:lnTo>
                      <a:pt x="1101" y="367"/>
                    </a:lnTo>
                    <a:lnTo>
                      <a:pt x="1113" y="367"/>
                    </a:lnTo>
                    <a:lnTo>
                      <a:pt x="1113" y="379"/>
                    </a:lnTo>
                    <a:lnTo>
                      <a:pt x="1117" y="387"/>
                    </a:lnTo>
                    <a:lnTo>
                      <a:pt x="1101" y="391"/>
                    </a:lnTo>
                    <a:lnTo>
                      <a:pt x="1089" y="400"/>
                    </a:lnTo>
                    <a:lnTo>
                      <a:pt x="1077" y="420"/>
                    </a:lnTo>
                    <a:lnTo>
                      <a:pt x="1053" y="432"/>
                    </a:lnTo>
                    <a:lnTo>
                      <a:pt x="1053" y="452"/>
                    </a:lnTo>
                    <a:lnTo>
                      <a:pt x="1049" y="476"/>
                    </a:lnTo>
                    <a:lnTo>
                      <a:pt x="1061" y="496"/>
                    </a:lnTo>
                    <a:lnTo>
                      <a:pt x="1061" y="512"/>
                    </a:lnTo>
                    <a:lnTo>
                      <a:pt x="1053" y="521"/>
                    </a:lnTo>
                    <a:lnTo>
                      <a:pt x="1049" y="529"/>
                    </a:lnTo>
                    <a:lnTo>
                      <a:pt x="1040" y="545"/>
                    </a:lnTo>
                    <a:lnTo>
                      <a:pt x="1028" y="549"/>
                    </a:lnTo>
                    <a:lnTo>
                      <a:pt x="1016" y="585"/>
                    </a:lnTo>
                    <a:lnTo>
                      <a:pt x="1000" y="629"/>
                    </a:lnTo>
                    <a:lnTo>
                      <a:pt x="996" y="646"/>
                    </a:lnTo>
                    <a:lnTo>
                      <a:pt x="988" y="650"/>
                    </a:lnTo>
                    <a:lnTo>
                      <a:pt x="988" y="662"/>
                    </a:lnTo>
                    <a:lnTo>
                      <a:pt x="984" y="678"/>
                    </a:lnTo>
                    <a:lnTo>
                      <a:pt x="984" y="694"/>
                    </a:lnTo>
                    <a:lnTo>
                      <a:pt x="984" y="714"/>
                    </a:lnTo>
                    <a:lnTo>
                      <a:pt x="996" y="714"/>
                    </a:lnTo>
                    <a:lnTo>
                      <a:pt x="1000" y="714"/>
                    </a:lnTo>
                    <a:lnTo>
                      <a:pt x="1012" y="702"/>
                    </a:lnTo>
                    <a:lnTo>
                      <a:pt x="1024" y="690"/>
                    </a:lnTo>
                    <a:lnTo>
                      <a:pt x="1036" y="690"/>
                    </a:lnTo>
                    <a:lnTo>
                      <a:pt x="1053" y="690"/>
                    </a:lnTo>
                    <a:lnTo>
                      <a:pt x="1061" y="698"/>
                    </a:lnTo>
                    <a:lnTo>
                      <a:pt x="1065" y="706"/>
                    </a:lnTo>
                    <a:lnTo>
                      <a:pt x="1077" y="746"/>
                    </a:lnTo>
                    <a:lnTo>
                      <a:pt x="1085" y="783"/>
                    </a:lnTo>
                    <a:lnTo>
                      <a:pt x="1105" y="799"/>
                    </a:lnTo>
                    <a:lnTo>
                      <a:pt x="1117" y="803"/>
                    </a:lnTo>
                    <a:lnTo>
                      <a:pt x="1121" y="811"/>
                    </a:lnTo>
                    <a:lnTo>
                      <a:pt x="1125" y="819"/>
                    </a:lnTo>
                    <a:lnTo>
                      <a:pt x="1137" y="823"/>
                    </a:lnTo>
                    <a:lnTo>
                      <a:pt x="1145" y="827"/>
                    </a:lnTo>
                    <a:lnTo>
                      <a:pt x="1153" y="839"/>
                    </a:lnTo>
                    <a:lnTo>
                      <a:pt x="1170" y="851"/>
                    </a:lnTo>
                    <a:lnTo>
                      <a:pt x="1170" y="868"/>
                    </a:lnTo>
                    <a:lnTo>
                      <a:pt x="1174" y="872"/>
                    </a:lnTo>
                    <a:lnTo>
                      <a:pt x="1174" y="876"/>
                    </a:lnTo>
                    <a:lnTo>
                      <a:pt x="1174" y="880"/>
                    </a:lnTo>
                    <a:lnTo>
                      <a:pt x="1165" y="888"/>
                    </a:lnTo>
                    <a:lnTo>
                      <a:pt x="1149" y="892"/>
                    </a:lnTo>
                    <a:lnTo>
                      <a:pt x="1141" y="896"/>
                    </a:lnTo>
                    <a:lnTo>
                      <a:pt x="1137" y="904"/>
                    </a:lnTo>
                    <a:lnTo>
                      <a:pt x="1129" y="912"/>
                    </a:lnTo>
                    <a:lnTo>
                      <a:pt x="1125" y="928"/>
                    </a:lnTo>
                    <a:lnTo>
                      <a:pt x="1121" y="932"/>
                    </a:lnTo>
                    <a:lnTo>
                      <a:pt x="1117" y="932"/>
                    </a:lnTo>
                    <a:lnTo>
                      <a:pt x="1105" y="932"/>
                    </a:lnTo>
                    <a:lnTo>
                      <a:pt x="1085" y="912"/>
                    </a:lnTo>
                    <a:lnTo>
                      <a:pt x="1077" y="908"/>
                    </a:lnTo>
                    <a:lnTo>
                      <a:pt x="1061" y="908"/>
                    </a:lnTo>
                    <a:lnTo>
                      <a:pt x="1044" y="908"/>
                    </a:lnTo>
                    <a:lnTo>
                      <a:pt x="1036" y="908"/>
                    </a:lnTo>
                    <a:lnTo>
                      <a:pt x="1028" y="912"/>
                    </a:lnTo>
                    <a:lnTo>
                      <a:pt x="1028" y="924"/>
                    </a:lnTo>
                    <a:lnTo>
                      <a:pt x="1024" y="932"/>
                    </a:lnTo>
                    <a:lnTo>
                      <a:pt x="1016" y="936"/>
                    </a:lnTo>
                    <a:lnTo>
                      <a:pt x="1012" y="944"/>
                    </a:lnTo>
                    <a:lnTo>
                      <a:pt x="1008" y="948"/>
                    </a:lnTo>
                    <a:lnTo>
                      <a:pt x="1008" y="956"/>
                    </a:lnTo>
                    <a:lnTo>
                      <a:pt x="996" y="964"/>
                    </a:lnTo>
                    <a:lnTo>
                      <a:pt x="996" y="972"/>
                    </a:lnTo>
                    <a:lnTo>
                      <a:pt x="964" y="972"/>
                    </a:lnTo>
                    <a:lnTo>
                      <a:pt x="944" y="97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 sz="1300" b="1"/>
              </a:p>
            </p:txBody>
          </p:sp>
          <p:sp>
            <p:nvSpPr>
              <p:cNvPr id="206" name="Freeform 55"/>
              <p:cNvSpPr>
                <a:spLocks/>
              </p:cNvSpPr>
              <p:nvPr/>
            </p:nvSpPr>
            <p:spPr bwMode="auto">
              <a:xfrm>
                <a:off x="7478122" y="2743001"/>
                <a:ext cx="413207" cy="176444"/>
              </a:xfrm>
              <a:custGeom>
                <a:avLst/>
                <a:gdLst>
                  <a:gd name="T0" fmla="*/ 892 w 460"/>
                  <a:gd name="T1" fmla="*/ 417 h 198"/>
                  <a:gd name="T2" fmla="*/ 884 w 460"/>
                  <a:gd name="T3" fmla="*/ 400 h 198"/>
                  <a:gd name="T4" fmla="*/ 912 w 460"/>
                  <a:gd name="T5" fmla="*/ 366 h 198"/>
                  <a:gd name="T6" fmla="*/ 920 w 460"/>
                  <a:gd name="T7" fmla="*/ 252 h 198"/>
                  <a:gd name="T8" fmla="*/ 912 w 460"/>
                  <a:gd name="T9" fmla="*/ 140 h 198"/>
                  <a:gd name="T10" fmla="*/ 875 w 460"/>
                  <a:gd name="T11" fmla="*/ 105 h 198"/>
                  <a:gd name="T12" fmla="*/ 832 w 460"/>
                  <a:gd name="T13" fmla="*/ 80 h 198"/>
                  <a:gd name="T14" fmla="*/ 772 w 460"/>
                  <a:gd name="T15" fmla="*/ 62 h 198"/>
                  <a:gd name="T16" fmla="*/ 737 w 460"/>
                  <a:gd name="T17" fmla="*/ 62 h 198"/>
                  <a:gd name="T18" fmla="*/ 703 w 460"/>
                  <a:gd name="T19" fmla="*/ 97 h 198"/>
                  <a:gd name="T20" fmla="*/ 677 w 460"/>
                  <a:gd name="T21" fmla="*/ 105 h 198"/>
                  <a:gd name="T22" fmla="*/ 598 w 460"/>
                  <a:gd name="T23" fmla="*/ 80 h 198"/>
                  <a:gd name="T24" fmla="*/ 555 w 460"/>
                  <a:gd name="T25" fmla="*/ 62 h 198"/>
                  <a:gd name="T26" fmla="*/ 460 w 460"/>
                  <a:gd name="T27" fmla="*/ 80 h 198"/>
                  <a:gd name="T28" fmla="*/ 443 w 460"/>
                  <a:gd name="T29" fmla="*/ 140 h 198"/>
                  <a:gd name="T30" fmla="*/ 434 w 460"/>
                  <a:gd name="T31" fmla="*/ 200 h 198"/>
                  <a:gd name="T32" fmla="*/ 381 w 460"/>
                  <a:gd name="T33" fmla="*/ 174 h 198"/>
                  <a:gd name="T34" fmla="*/ 277 w 460"/>
                  <a:gd name="T35" fmla="*/ 157 h 198"/>
                  <a:gd name="T36" fmla="*/ 226 w 460"/>
                  <a:gd name="T37" fmla="*/ 166 h 198"/>
                  <a:gd name="T38" fmla="*/ 191 w 460"/>
                  <a:gd name="T39" fmla="*/ 174 h 198"/>
                  <a:gd name="T40" fmla="*/ 174 w 460"/>
                  <a:gd name="T41" fmla="*/ 166 h 198"/>
                  <a:gd name="T42" fmla="*/ 34 w 460"/>
                  <a:gd name="T43" fmla="*/ 140 h 198"/>
                  <a:gd name="T44" fmla="*/ 0 w 460"/>
                  <a:gd name="T45" fmla="*/ 97 h 198"/>
                  <a:gd name="T46" fmla="*/ 17 w 460"/>
                  <a:gd name="T47" fmla="*/ 62 h 198"/>
                  <a:gd name="T48" fmla="*/ 103 w 460"/>
                  <a:gd name="T49" fmla="*/ 28 h 198"/>
                  <a:gd name="T50" fmla="*/ 252 w 460"/>
                  <a:gd name="T51" fmla="*/ 19 h 198"/>
                  <a:gd name="T52" fmla="*/ 417 w 460"/>
                  <a:gd name="T53" fmla="*/ 28 h 198"/>
                  <a:gd name="T54" fmla="*/ 581 w 460"/>
                  <a:gd name="T55" fmla="*/ 45 h 198"/>
                  <a:gd name="T56" fmla="*/ 660 w 460"/>
                  <a:gd name="T57" fmla="*/ 45 h 198"/>
                  <a:gd name="T58" fmla="*/ 712 w 460"/>
                  <a:gd name="T59" fmla="*/ 28 h 198"/>
                  <a:gd name="T60" fmla="*/ 720 w 460"/>
                  <a:gd name="T61" fmla="*/ 28 h 198"/>
                  <a:gd name="T62" fmla="*/ 823 w 460"/>
                  <a:gd name="T63" fmla="*/ 28 h 198"/>
                  <a:gd name="T64" fmla="*/ 884 w 460"/>
                  <a:gd name="T65" fmla="*/ 0 h 198"/>
                  <a:gd name="T66" fmla="*/ 946 w 460"/>
                  <a:gd name="T67" fmla="*/ 0 h 198"/>
                  <a:gd name="T68" fmla="*/ 972 w 460"/>
                  <a:gd name="T69" fmla="*/ 80 h 198"/>
                  <a:gd name="T70" fmla="*/ 972 w 460"/>
                  <a:gd name="T71" fmla="*/ 200 h 198"/>
                  <a:gd name="T72" fmla="*/ 989 w 460"/>
                  <a:gd name="T73" fmla="*/ 262 h 198"/>
                  <a:gd name="T74" fmla="*/ 989 w 460"/>
                  <a:gd name="T75" fmla="*/ 306 h 198"/>
                  <a:gd name="T76" fmla="*/ 972 w 460"/>
                  <a:gd name="T77" fmla="*/ 340 h 198"/>
                  <a:gd name="T78" fmla="*/ 946 w 460"/>
                  <a:gd name="T79" fmla="*/ 366 h 198"/>
                  <a:gd name="T80" fmla="*/ 937 w 460"/>
                  <a:gd name="T81" fmla="*/ 426 h 198"/>
                  <a:gd name="T82" fmla="*/ 912 w 460"/>
                  <a:gd name="T83" fmla="*/ 426 h 198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460"/>
                  <a:gd name="T127" fmla="*/ 0 h 198"/>
                  <a:gd name="T128" fmla="*/ 460 w 460"/>
                  <a:gd name="T129" fmla="*/ 198 h 198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460" h="198">
                    <a:moveTo>
                      <a:pt x="424" y="198"/>
                    </a:moveTo>
                    <a:lnTo>
                      <a:pt x="415" y="194"/>
                    </a:lnTo>
                    <a:lnTo>
                      <a:pt x="411" y="190"/>
                    </a:lnTo>
                    <a:lnTo>
                      <a:pt x="411" y="186"/>
                    </a:lnTo>
                    <a:lnTo>
                      <a:pt x="411" y="178"/>
                    </a:lnTo>
                    <a:lnTo>
                      <a:pt x="424" y="170"/>
                    </a:lnTo>
                    <a:lnTo>
                      <a:pt x="428" y="158"/>
                    </a:lnTo>
                    <a:lnTo>
                      <a:pt x="428" y="117"/>
                    </a:lnTo>
                    <a:lnTo>
                      <a:pt x="424" y="77"/>
                    </a:lnTo>
                    <a:lnTo>
                      <a:pt x="424" y="65"/>
                    </a:lnTo>
                    <a:lnTo>
                      <a:pt x="415" y="57"/>
                    </a:lnTo>
                    <a:lnTo>
                      <a:pt x="407" y="49"/>
                    </a:lnTo>
                    <a:lnTo>
                      <a:pt x="403" y="45"/>
                    </a:lnTo>
                    <a:lnTo>
                      <a:pt x="387" y="37"/>
                    </a:lnTo>
                    <a:lnTo>
                      <a:pt x="379" y="29"/>
                    </a:lnTo>
                    <a:lnTo>
                      <a:pt x="359" y="29"/>
                    </a:lnTo>
                    <a:lnTo>
                      <a:pt x="347" y="29"/>
                    </a:lnTo>
                    <a:lnTo>
                      <a:pt x="343" y="29"/>
                    </a:lnTo>
                    <a:lnTo>
                      <a:pt x="335" y="33"/>
                    </a:lnTo>
                    <a:lnTo>
                      <a:pt x="327" y="45"/>
                    </a:lnTo>
                    <a:lnTo>
                      <a:pt x="319" y="49"/>
                    </a:lnTo>
                    <a:lnTo>
                      <a:pt x="315" y="49"/>
                    </a:lnTo>
                    <a:lnTo>
                      <a:pt x="311" y="49"/>
                    </a:lnTo>
                    <a:lnTo>
                      <a:pt x="278" y="37"/>
                    </a:lnTo>
                    <a:lnTo>
                      <a:pt x="274" y="33"/>
                    </a:lnTo>
                    <a:lnTo>
                      <a:pt x="258" y="29"/>
                    </a:lnTo>
                    <a:lnTo>
                      <a:pt x="230" y="29"/>
                    </a:lnTo>
                    <a:lnTo>
                      <a:pt x="214" y="37"/>
                    </a:lnTo>
                    <a:lnTo>
                      <a:pt x="210" y="45"/>
                    </a:lnTo>
                    <a:lnTo>
                      <a:pt x="206" y="65"/>
                    </a:lnTo>
                    <a:lnTo>
                      <a:pt x="206" y="93"/>
                    </a:lnTo>
                    <a:lnTo>
                      <a:pt x="202" y="93"/>
                    </a:lnTo>
                    <a:lnTo>
                      <a:pt x="194" y="93"/>
                    </a:lnTo>
                    <a:lnTo>
                      <a:pt x="177" y="81"/>
                    </a:lnTo>
                    <a:lnTo>
                      <a:pt x="153" y="73"/>
                    </a:lnTo>
                    <a:lnTo>
                      <a:pt x="129" y="73"/>
                    </a:lnTo>
                    <a:lnTo>
                      <a:pt x="105" y="73"/>
                    </a:lnTo>
                    <a:lnTo>
                      <a:pt x="105" y="77"/>
                    </a:lnTo>
                    <a:lnTo>
                      <a:pt x="101" y="81"/>
                    </a:lnTo>
                    <a:lnTo>
                      <a:pt x="89" y="81"/>
                    </a:lnTo>
                    <a:lnTo>
                      <a:pt x="85" y="81"/>
                    </a:lnTo>
                    <a:lnTo>
                      <a:pt x="81" y="77"/>
                    </a:lnTo>
                    <a:lnTo>
                      <a:pt x="44" y="69"/>
                    </a:lnTo>
                    <a:lnTo>
                      <a:pt x="16" y="65"/>
                    </a:lnTo>
                    <a:lnTo>
                      <a:pt x="12" y="57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8" y="29"/>
                    </a:lnTo>
                    <a:lnTo>
                      <a:pt x="24" y="21"/>
                    </a:lnTo>
                    <a:lnTo>
                      <a:pt x="48" y="13"/>
                    </a:lnTo>
                    <a:lnTo>
                      <a:pt x="81" y="9"/>
                    </a:lnTo>
                    <a:lnTo>
                      <a:pt x="117" y="9"/>
                    </a:lnTo>
                    <a:lnTo>
                      <a:pt x="157" y="13"/>
                    </a:lnTo>
                    <a:lnTo>
                      <a:pt x="194" y="13"/>
                    </a:lnTo>
                    <a:lnTo>
                      <a:pt x="230" y="13"/>
                    </a:lnTo>
                    <a:lnTo>
                      <a:pt x="270" y="21"/>
                    </a:lnTo>
                    <a:lnTo>
                      <a:pt x="282" y="21"/>
                    </a:lnTo>
                    <a:lnTo>
                      <a:pt x="307" y="21"/>
                    </a:lnTo>
                    <a:lnTo>
                      <a:pt x="319" y="13"/>
                    </a:lnTo>
                    <a:lnTo>
                      <a:pt x="331" y="13"/>
                    </a:lnTo>
                    <a:lnTo>
                      <a:pt x="335" y="13"/>
                    </a:lnTo>
                    <a:lnTo>
                      <a:pt x="359" y="13"/>
                    </a:lnTo>
                    <a:lnTo>
                      <a:pt x="383" y="13"/>
                    </a:lnTo>
                    <a:lnTo>
                      <a:pt x="399" y="9"/>
                    </a:lnTo>
                    <a:lnTo>
                      <a:pt x="411" y="0"/>
                    </a:lnTo>
                    <a:lnTo>
                      <a:pt x="428" y="0"/>
                    </a:lnTo>
                    <a:lnTo>
                      <a:pt x="440" y="0"/>
                    </a:lnTo>
                    <a:lnTo>
                      <a:pt x="444" y="21"/>
                    </a:lnTo>
                    <a:lnTo>
                      <a:pt x="452" y="37"/>
                    </a:lnTo>
                    <a:lnTo>
                      <a:pt x="452" y="65"/>
                    </a:lnTo>
                    <a:lnTo>
                      <a:pt x="452" y="93"/>
                    </a:lnTo>
                    <a:lnTo>
                      <a:pt x="456" y="105"/>
                    </a:lnTo>
                    <a:lnTo>
                      <a:pt x="460" y="122"/>
                    </a:lnTo>
                    <a:lnTo>
                      <a:pt x="460" y="130"/>
                    </a:lnTo>
                    <a:lnTo>
                      <a:pt x="460" y="142"/>
                    </a:lnTo>
                    <a:lnTo>
                      <a:pt x="456" y="146"/>
                    </a:lnTo>
                    <a:lnTo>
                      <a:pt x="452" y="158"/>
                    </a:lnTo>
                    <a:lnTo>
                      <a:pt x="444" y="162"/>
                    </a:lnTo>
                    <a:lnTo>
                      <a:pt x="440" y="170"/>
                    </a:lnTo>
                    <a:lnTo>
                      <a:pt x="436" y="194"/>
                    </a:lnTo>
                    <a:lnTo>
                      <a:pt x="436" y="198"/>
                    </a:lnTo>
                    <a:lnTo>
                      <a:pt x="428" y="198"/>
                    </a:lnTo>
                    <a:lnTo>
                      <a:pt x="424" y="19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6350">
                <a:noFill/>
                <a:round/>
                <a:headEnd/>
                <a:tailEnd/>
              </a:ln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300" b="1">
                  <a:latin typeface="+mn-lt"/>
                  <a:cs typeface="+mn-cs"/>
                </a:endParaRPr>
              </a:p>
            </p:txBody>
          </p:sp>
        </p:grpSp>
        <p:sp>
          <p:nvSpPr>
            <p:cNvPr id="146" name="Freeform 56"/>
            <p:cNvSpPr>
              <a:spLocks/>
            </p:cNvSpPr>
            <p:nvPr/>
          </p:nvSpPr>
          <p:spPr bwMode="auto">
            <a:xfrm>
              <a:off x="3840246" y="1978197"/>
              <a:ext cx="865188" cy="937164"/>
            </a:xfrm>
            <a:custGeom>
              <a:avLst/>
              <a:gdLst>
                <a:gd name="T0" fmla="*/ 2147483647 w 964"/>
                <a:gd name="T1" fmla="*/ 2147483647 h 1053"/>
                <a:gd name="T2" fmla="*/ 2147483647 w 964"/>
                <a:gd name="T3" fmla="*/ 2147483647 h 1053"/>
                <a:gd name="T4" fmla="*/ 2147483647 w 964"/>
                <a:gd name="T5" fmla="*/ 2147483647 h 1053"/>
                <a:gd name="T6" fmla="*/ 2147483647 w 964"/>
                <a:gd name="T7" fmla="*/ 2147483647 h 1053"/>
                <a:gd name="T8" fmla="*/ 2147483647 w 964"/>
                <a:gd name="T9" fmla="*/ 2147483647 h 1053"/>
                <a:gd name="T10" fmla="*/ 2147483647 w 964"/>
                <a:gd name="T11" fmla="*/ 2147483647 h 1053"/>
                <a:gd name="T12" fmla="*/ 2147483647 w 964"/>
                <a:gd name="T13" fmla="*/ 2147483647 h 1053"/>
                <a:gd name="T14" fmla="*/ 2147483647 w 964"/>
                <a:gd name="T15" fmla="*/ 2147483647 h 1053"/>
                <a:gd name="T16" fmla="*/ 2147483647 w 964"/>
                <a:gd name="T17" fmla="*/ 2147483647 h 1053"/>
                <a:gd name="T18" fmla="*/ 2147483647 w 964"/>
                <a:gd name="T19" fmla="*/ 2147483647 h 1053"/>
                <a:gd name="T20" fmla="*/ 2147483647 w 964"/>
                <a:gd name="T21" fmla="*/ 2147483647 h 1053"/>
                <a:gd name="T22" fmla="*/ 2147483647 w 964"/>
                <a:gd name="T23" fmla="*/ 2147483647 h 1053"/>
                <a:gd name="T24" fmla="*/ 2147483647 w 964"/>
                <a:gd name="T25" fmla="*/ 2147483647 h 1053"/>
                <a:gd name="T26" fmla="*/ 2147483647 w 964"/>
                <a:gd name="T27" fmla="*/ 2147483647 h 1053"/>
                <a:gd name="T28" fmla="*/ 2147483647 w 964"/>
                <a:gd name="T29" fmla="*/ 2147483647 h 1053"/>
                <a:gd name="T30" fmla="*/ 2147483647 w 964"/>
                <a:gd name="T31" fmla="*/ 2147483647 h 1053"/>
                <a:gd name="T32" fmla="*/ 2147483647 w 964"/>
                <a:gd name="T33" fmla="*/ 2147483647 h 1053"/>
                <a:gd name="T34" fmla="*/ 2147483647 w 964"/>
                <a:gd name="T35" fmla="*/ 2147483647 h 1053"/>
                <a:gd name="T36" fmla="*/ 0 w 964"/>
                <a:gd name="T37" fmla="*/ 2147483647 h 1053"/>
                <a:gd name="T38" fmla="*/ 2147483647 w 964"/>
                <a:gd name="T39" fmla="*/ 2147483647 h 1053"/>
                <a:gd name="T40" fmla="*/ 2147483647 w 964"/>
                <a:gd name="T41" fmla="*/ 2147483647 h 1053"/>
                <a:gd name="T42" fmla="*/ 2147483647 w 964"/>
                <a:gd name="T43" fmla="*/ 2147483647 h 1053"/>
                <a:gd name="T44" fmla="*/ 2147483647 w 964"/>
                <a:gd name="T45" fmla="*/ 2147483647 h 1053"/>
                <a:gd name="T46" fmla="*/ 2147483647 w 964"/>
                <a:gd name="T47" fmla="*/ 2147483647 h 1053"/>
                <a:gd name="T48" fmla="*/ 2147483647 w 964"/>
                <a:gd name="T49" fmla="*/ 2147483647 h 1053"/>
                <a:gd name="T50" fmla="*/ 2147483647 w 964"/>
                <a:gd name="T51" fmla="*/ 2147483647 h 1053"/>
                <a:gd name="T52" fmla="*/ 2147483647 w 964"/>
                <a:gd name="T53" fmla="*/ 2147483647 h 1053"/>
                <a:gd name="T54" fmla="*/ 2147483647 w 964"/>
                <a:gd name="T55" fmla="*/ 2147483647 h 1053"/>
                <a:gd name="T56" fmla="*/ 2147483647 w 964"/>
                <a:gd name="T57" fmla="*/ 2147483647 h 1053"/>
                <a:gd name="T58" fmla="*/ 2147483647 w 964"/>
                <a:gd name="T59" fmla="*/ 2147483647 h 1053"/>
                <a:gd name="T60" fmla="*/ 2147483647 w 964"/>
                <a:gd name="T61" fmla="*/ 2147483647 h 1053"/>
                <a:gd name="T62" fmla="*/ 2147483647 w 964"/>
                <a:gd name="T63" fmla="*/ 0 h 1053"/>
                <a:gd name="T64" fmla="*/ 2147483647 w 964"/>
                <a:gd name="T65" fmla="*/ 2147483647 h 1053"/>
                <a:gd name="T66" fmla="*/ 2147483647 w 964"/>
                <a:gd name="T67" fmla="*/ 2147483647 h 1053"/>
                <a:gd name="T68" fmla="*/ 2147483647 w 964"/>
                <a:gd name="T69" fmla="*/ 2147483647 h 1053"/>
                <a:gd name="T70" fmla="*/ 2147483647 w 964"/>
                <a:gd name="T71" fmla="*/ 2147483647 h 1053"/>
                <a:gd name="T72" fmla="*/ 2147483647 w 964"/>
                <a:gd name="T73" fmla="*/ 2147483647 h 1053"/>
                <a:gd name="T74" fmla="*/ 2147483647 w 964"/>
                <a:gd name="T75" fmla="*/ 2147483647 h 1053"/>
                <a:gd name="T76" fmla="*/ 2147483647 w 964"/>
                <a:gd name="T77" fmla="*/ 2147483647 h 1053"/>
                <a:gd name="T78" fmla="*/ 2147483647 w 964"/>
                <a:gd name="T79" fmla="*/ 2147483647 h 1053"/>
                <a:gd name="T80" fmla="*/ 2147483647 w 964"/>
                <a:gd name="T81" fmla="*/ 2147483647 h 1053"/>
                <a:gd name="T82" fmla="*/ 2147483647 w 964"/>
                <a:gd name="T83" fmla="*/ 2147483647 h 1053"/>
                <a:gd name="T84" fmla="*/ 2147483647 w 964"/>
                <a:gd name="T85" fmla="*/ 2147483647 h 1053"/>
                <a:gd name="T86" fmla="*/ 2147483647 w 964"/>
                <a:gd name="T87" fmla="*/ 2147483647 h 1053"/>
                <a:gd name="T88" fmla="*/ 2147483647 w 964"/>
                <a:gd name="T89" fmla="*/ 2147483647 h 1053"/>
                <a:gd name="T90" fmla="*/ 2147483647 w 964"/>
                <a:gd name="T91" fmla="*/ 2147483647 h 1053"/>
                <a:gd name="T92" fmla="*/ 2147483647 w 964"/>
                <a:gd name="T93" fmla="*/ 2147483647 h 1053"/>
                <a:gd name="T94" fmla="*/ 2147483647 w 964"/>
                <a:gd name="T95" fmla="*/ 2147483647 h 1053"/>
                <a:gd name="T96" fmla="*/ 2147483647 w 964"/>
                <a:gd name="T97" fmla="*/ 2147483647 h 1053"/>
                <a:gd name="T98" fmla="*/ 2147483647 w 964"/>
                <a:gd name="T99" fmla="*/ 2147483647 h 1053"/>
                <a:gd name="T100" fmla="*/ 2147483647 w 964"/>
                <a:gd name="T101" fmla="*/ 2147483647 h 1053"/>
                <a:gd name="T102" fmla="*/ 2147483647 w 964"/>
                <a:gd name="T103" fmla="*/ 2147483647 h 1053"/>
                <a:gd name="T104" fmla="*/ 2147483647 w 964"/>
                <a:gd name="T105" fmla="*/ 2147483647 h 1053"/>
                <a:gd name="T106" fmla="*/ 2147483647 w 964"/>
                <a:gd name="T107" fmla="*/ 2147483647 h 1053"/>
                <a:gd name="T108" fmla="*/ 2147483647 w 964"/>
                <a:gd name="T109" fmla="*/ 2147483647 h 1053"/>
                <a:gd name="T110" fmla="*/ 2147483647 w 964"/>
                <a:gd name="T111" fmla="*/ 2147483647 h 1053"/>
                <a:gd name="T112" fmla="*/ 2147483647 w 964"/>
                <a:gd name="T113" fmla="*/ 2147483647 h 1053"/>
                <a:gd name="T114" fmla="*/ 2147483647 w 964"/>
                <a:gd name="T115" fmla="*/ 2147483647 h 1053"/>
                <a:gd name="T116" fmla="*/ 2147483647 w 964"/>
                <a:gd name="T117" fmla="*/ 2147483647 h 1053"/>
                <a:gd name="T118" fmla="*/ 2147483647 w 964"/>
                <a:gd name="T119" fmla="*/ 2147483647 h 1053"/>
                <a:gd name="T120" fmla="*/ 2147483647 w 964"/>
                <a:gd name="T121" fmla="*/ 2147483647 h 1053"/>
                <a:gd name="T122" fmla="*/ 2147483647 w 964"/>
                <a:gd name="T123" fmla="*/ 2147483647 h 1053"/>
                <a:gd name="T124" fmla="*/ 2147483647 w 964"/>
                <a:gd name="T125" fmla="*/ 2147483647 h 105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64"/>
                <a:gd name="T190" fmla="*/ 0 h 1053"/>
                <a:gd name="T191" fmla="*/ 964 w 964"/>
                <a:gd name="T192" fmla="*/ 1053 h 105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64" h="1053">
                  <a:moveTo>
                    <a:pt x="645" y="1053"/>
                  </a:moveTo>
                  <a:lnTo>
                    <a:pt x="637" y="1045"/>
                  </a:lnTo>
                  <a:lnTo>
                    <a:pt x="629" y="1029"/>
                  </a:lnTo>
                  <a:lnTo>
                    <a:pt x="629" y="1021"/>
                  </a:lnTo>
                  <a:lnTo>
                    <a:pt x="629" y="1005"/>
                  </a:lnTo>
                  <a:lnTo>
                    <a:pt x="625" y="989"/>
                  </a:lnTo>
                  <a:lnTo>
                    <a:pt x="613" y="968"/>
                  </a:lnTo>
                  <a:lnTo>
                    <a:pt x="609" y="964"/>
                  </a:lnTo>
                  <a:lnTo>
                    <a:pt x="601" y="956"/>
                  </a:lnTo>
                  <a:lnTo>
                    <a:pt x="581" y="948"/>
                  </a:lnTo>
                  <a:lnTo>
                    <a:pt x="556" y="932"/>
                  </a:lnTo>
                  <a:lnTo>
                    <a:pt x="520" y="932"/>
                  </a:lnTo>
                  <a:lnTo>
                    <a:pt x="476" y="932"/>
                  </a:lnTo>
                  <a:lnTo>
                    <a:pt x="460" y="924"/>
                  </a:lnTo>
                  <a:lnTo>
                    <a:pt x="447" y="920"/>
                  </a:lnTo>
                  <a:lnTo>
                    <a:pt x="443" y="908"/>
                  </a:lnTo>
                  <a:lnTo>
                    <a:pt x="435" y="896"/>
                  </a:lnTo>
                  <a:lnTo>
                    <a:pt x="419" y="884"/>
                  </a:lnTo>
                  <a:lnTo>
                    <a:pt x="415" y="876"/>
                  </a:lnTo>
                  <a:lnTo>
                    <a:pt x="395" y="876"/>
                  </a:lnTo>
                  <a:lnTo>
                    <a:pt x="383" y="876"/>
                  </a:lnTo>
                  <a:lnTo>
                    <a:pt x="379" y="872"/>
                  </a:lnTo>
                  <a:lnTo>
                    <a:pt x="363" y="868"/>
                  </a:lnTo>
                  <a:lnTo>
                    <a:pt x="363" y="847"/>
                  </a:lnTo>
                  <a:lnTo>
                    <a:pt x="363" y="819"/>
                  </a:lnTo>
                  <a:lnTo>
                    <a:pt x="359" y="807"/>
                  </a:lnTo>
                  <a:lnTo>
                    <a:pt x="355" y="803"/>
                  </a:lnTo>
                  <a:lnTo>
                    <a:pt x="326" y="771"/>
                  </a:lnTo>
                  <a:lnTo>
                    <a:pt x="302" y="755"/>
                  </a:lnTo>
                  <a:lnTo>
                    <a:pt x="302" y="751"/>
                  </a:lnTo>
                  <a:lnTo>
                    <a:pt x="298" y="747"/>
                  </a:lnTo>
                  <a:lnTo>
                    <a:pt x="278" y="747"/>
                  </a:lnTo>
                  <a:lnTo>
                    <a:pt x="262" y="738"/>
                  </a:lnTo>
                  <a:lnTo>
                    <a:pt x="250" y="734"/>
                  </a:lnTo>
                  <a:lnTo>
                    <a:pt x="238" y="726"/>
                  </a:lnTo>
                  <a:lnTo>
                    <a:pt x="209" y="678"/>
                  </a:lnTo>
                  <a:lnTo>
                    <a:pt x="189" y="658"/>
                  </a:lnTo>
                  <a:lnTo>
                    <a:pt x="185" y="650"/>
                  </a:lnTo>
                  <a:lnTo>
                    <a:pt x="185" y="638"/>
                  </a:lnTo>
                  <a:lnTo>
                    <a:pt x="173" y="625"/>
                  </a:lnTo>
                  <a:lnTo>
                    <a:pt x="165" y="613"/>
                  </a:lnTo>
                  <a:lnTo>
                    <a:pt x="157" y="609"/>
                  </a:lnTo>
                  <a:lnTo>
                    <a:pt x="153" y="605"/>
                  </a:lnTo>
                  <a:lnTo>
                    <a:pt x="141" y="593"/>
                  </a:lnTo>
                  <a:lnTo>
                    <a:pt x="137" y="585"/>
                  </a:lnTo>
                  <a:lnTo>
                    <a:pt x="125" y="577"/>
                  </a:lnTo>
                  <a:lnTo>
                    <a:pt x="105" y="569"/>
                  </a:lnTo>
                  <a:lnTo>
                    <a:pt x="88" y="553"/>
                  </a:lnTo>
                  <a:lnTo>
                    <a:pt x="72" y="541"/>
                  </a:lnTo>
                  <a:lnTo>
                    <a:pt x="60" y="537"/>
                  </a:lnTo>
                  <a:lnTo>
                    <a:pt x="52" y="537"/>
                  </a:lnTo>
                  <a:lnTo>
                    <a:pt x="44" y="529"/>
                  </a:lnTo>
                  <a:lnTo>
                    <a:pt x="32" y="517"/>
                  </a:lnTo>
                  <a:lnTo>
                    <a:pt x="20" y="504"/>
                  </a:lnTo>
                  <a:lnTo>
                    <a:pt x="8" y="492"/>
                  </a:lnTo>
                  <a:lnTo>
                    <a:pt x="8" y="480"/>
                  </a:lnTo>
                  <a:lnTo>
                    <a:pt x="0" y="460"/>
                  </a:lnTo>
                  <a:lnTo>
                    <a:pt x="20" y="448"/>
                  </a:lnTo>
                  <a:lnTo>
                    <a:pt x="36" y="428"/>
                  </a:lnTo>
                  <a:lnTo>
                    <a:pt x="56" y="412"/>
                  </a:lnTo>
                  <a:lnTo>
                    <a:pt x="84" y="400"/>
                  </a:lnTo>
                  <a:lnTo>
                    <a:pt x="88" y="391"/>
                  </a:lnTo>
                  <a:lnTo>
                    <a:pt x="88" y="383"/>
                  </a:lnTo>
                  <a:lnTo>
                    <a:pt x="88" y="371"/>
                  </a:lnTo>
                  <a:lnTo>
                    <a:pt x="88" y="355"/>
                  </a:lnTo>
                  <a:lnTo>
                    <a:pt x="97" y="355"/>
                  </a:lnTo>
                  <a:lnTo>
                    <a:pt x="97" y="351"/>
                  </a:lnTo>
                  <a:lnTo>
                    <a:pt x="97" y="327"/>
                  </a:lnTo>
                  <a:lnTo>
                    <a:pt x="97" y="311"/>
                  </a:lnTo>
                  <a:lnTo>
                    <a:pt x="88" y="303"/>
                  </a:lnTo>
                  <a:lnTo>
                    <a:pt x="88" y="266"/>
                  </a:lnTo>
                  <a:lnTo>
                    <a:pt x="88" y="262"/>
                  </a:lnTo>
                  <a:lnTo>
                    <a:pt x="88" y="250"/>
                  </a:lnTo>
                  <a:lnTo>
                    <a:pt x="88" y="246"/>
                  </a:lnTo>
                  <a:lnTo>
                    <a:pt x="88" y="242"/>
                  </a:lnTo>
                  <a:lnTo>
                    <a:pt x="157" y="242"/>
                  </a:lnTo>
                  <a:lnTo>
                    <a:pt x="193" y="238"/>
                  </a:lnTo>
                  <a:lnTo>
                    <a:pt x="209" y="226"/>
                  </a:lnTo>
                  <a:lnTo>
                    <a:pt x="230" y="218"/>
                  </a:lnTo>
                  <a:lnTo>
                    <a:pt x="238" y="218"/>
                  </a:lnTo>
                  <a:lnTo>
                    <a:pt x="246" y="214"/>
                  </a:lnTo>
                  <a:lnTo>
                    <a:pt x="254" y="206"/>
                  </a:lnTo>
                  <a:lnTo>
                    <a:pt x="262" y="198"/>
                  </a:lnTo>
                  <a:lnTo>
                    <a:pt x="262" y="178"/>
                  </a:lnTo>
                  <a:lnTo>
                    <a:pt x="262" y="157"/>
                  </a:lnTo>
                  <a:lnTo>
                    <a:pt x="254" y="153"/>
                  </a:lnTo>
                  <a:lnTo>
                    <a:pt x="250" y="149"/>
                  </a:lnTo>
                  <a:lnTo>
                    <a:pt x="246" y="117"/>
                  </a:lnTo>
                  <a:lnTo>
                    <a:pt x="238" y="89"/>
                  </a:lnTo>
                  <a:lnTo>
                    <a:pt x="238" y="73"/>
                  </a:lnTo>
                  <a:lnTo>
                    <a:pt x="238" y="57"/>
                  </a:lnTo>
                  <a:lnTo>
                    <a:pt x="238" y="49"/>
                  </a:lnTo>
                  <a:lnTo>
                    <a:pt x="238" y="40"/>
                  </a:lnTo>
                  <a:lnTo>
                    <a:pt x="254" y="20"/>
                  </a:lnTo>
                  <a:lnTo>
                    <a:pt x="274" y="0"/>
                  </a:lnTo>
                  <a:lnTo>
                    <a:pt x="290" y="0"/>
                  </a:lnTo>
                  <a:lnTo>
                    <a:pt x="306" y="0"/>
                  </a:lnTo>
                  <a:lnTo>
                    <a:pt x="318" y="8"/>
                  </a:lnTo>
                  <a:lnTo>
                    <a:pt x="326" y="20"/>
                  </a:lnTo>
                  <a:lnTo>
                    <a:pt x="330" y="24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7" y="40"/>
                  </a:lnTo>
                  <a:lnTo>
                    <a:pt x="383" y="40"/>
                  </a:lnTo>
                  <a:lnTo>
                    <a:pt x="415" y="40"/>
                  </a:lnTo>
                  <a:lnTo>
                    <a:pt x="431" y="57"/>
                  </a:lnTo>
                  <a:lnTo>
                    <a:pt x="439" y="65"/>
                  </a:lnTo>
                  <a:lnTo>
                    <a:pt x="452" y="85"/>
                  </a:lnTo>
                  <a:lnTo>
                    <a:pt x="460" y="109"/>
                  </a:lnTo>
                  <a:lnTo>
                    <a:pt x="468" y="117"/>
                  </a:lnTo>
                  <a:lnTo>
                    <a:pt x="468" y="125"/>
                  </a:lnTo>
                  <a:lnTo>
                    <a:pt x="476" y="137"/>
                  </a:lnTo>
                  <a:lnTo>
                    <a:pt x="484" y="153"/>
                  </a:lnTo>
                  <a:lnTo>
                    <a:pt x="496" y="153"/>
                  </a:lnTo>
                  <a:lnTo>
                    <a:pt x="500" y="157"/>
                  </a:lnTo>
                  <a:lnTo>
                    <a:pt x="524" y="182"/>
                  </a:lnTo>
                  <a:lnTo>
                    <a:pt x="532" y="190"/>
                  </a:lnTo>
                  <a:lnTo>
                    <a:pt x="556" y="202"/>
                  </a:lnTo>
                  <a:lnTo>
                    <a:pt x="581" y="210"/>
                  </a:lnTo>
                  <a:lnTo>
                    <a:pt x="593" y="226"/>
                  </a:lnTo>
                  <a:lnTo>
                    <a:pt x="609" y="246"/>
                  </a:lnTo>
                  <a:lnTo>
                    <a:pt x="613" y="262"/>
                  </a:lnTo>
                  <a:lnTo>
                    <a:pt x="617" y="274"/>
                  </a:lnTo>
                  <a:lnTo>
                    <a:pt x="625" y="287"/>
                  </a:lnTo>
                  <a:lnTo>
                    <a:pt x="629" y="303"/>
                  </a:lnTo>
                  <a:lnTo>
                    <a:pt x="645" y="303"/>
                  </a:lnTo>
                  <a:lnTo>
                    <a:pt x="661" y="303"/>
                  </a:lnTo>
                  <a:lnTo>
                    <a:pt x="673" y="291"/>
                  </a:lnTo>
                  <a:lnTo>
                    <a:pt x="690" y="279"/>
                  </a:lnTo>
                  <a:lnTo>
                    <a:pt x="702" y="279"/>
                  </a:lnTo>
                  <a:lnTo>
                    <a:pt x="718" y="279"/>
                  </a:lnTo>
                  <a:lnTo>
                    <a:pt x="722" y="279"/>
                  </a:lnTo>
                  <a:lnTo>
                    <a:pt x="726" y="279"/>
                  </a:lnTo>
                  <a:lnTo>
                    <a:pt x="742" y="299"/>
                  </a:lnTo>
                  <a:lnTo>
                    <a:pt x="758" y="319"/>
                  </a:lnTo>
                  <a:lnTo>
                    <a:pt x="766" y="323"/>
                  </a:lnTo>
                  <a:lnTo>
                    <a:pt x="766" y="331"/>
                  </a:lnTo>
                  <a:lnTo>
                    <a:pt x="770" y="339"/>
                  </a:lnTo>
                  <a:lnTo>
                    <a:pt x="782" y="351"/>
                  </a:lnTo>
                  <a:lnTo>
                    <a:pt x="802" y="355"/>
                  </a:lnTo>
                  <a:lnTo>
                    <a:pt x="819" y="359"/>
                  </a:lnTo>
                  <a:lnTo>
                    <a:pt x="835" y="367"/>
                  </a:lnTo>
                  <a:lnTo>
                    <a:pt x="843" y="375"/>
                  </a:lnTo>
                  <a:lnTo>
                    <a:pt x="847" y="379"/>
                  </a:lnTo>
                  <a:lnTo>
                    <a:pt x="847" y="387"/>
                  </a:lnTo>
                  <a:lnTo>
                    <a:pt x="851" y="448"/>
                  </a:lnTo>
                  <a:lnTo>
                    <a:pt x="851" y="504"/>
                  </a:lnTo>
                  <a:lnTo>
                    <a:pt x="855" y="517"/>
                  </a:lnTo>
                  <a:lnTo>
                    <a:pt x="859" y="521"/>
                  </a:lnTo>
                  <a:lnTo>
                    <a:pt x="859" y="537"/>
                  </a:lnTo>
                  <a:lnTo>
                    <a:pt x="859" y="553"/>
                  </a:lnTo>
                  <a:lnTo>
                    <a:pt x="855" y="553"/>
                  </a:lnTo>
                  <a:lnTo>
                    <a:pt x="851" y="553"/>
                  </a:lnTo>
                  <a:lnTo>
                    <a:pt x="851" y="577"/>
                  </a:lnTo>
                  <a:lnTo>
                    <a:pt x="851" y="601"/>
                  </a:lnTo>
                  <a:lnTo>
                    <a:pt x="855" y="605"/>
                  </a:lnTo>
                  <a:lnTo>
                    <a:pt x="859" y="609"/>
                  </a:lnTo>
                  <a:lnTo>
                    <a:pt x="879" y="617"/>
                  </a:lnTo>
                  <a:lnTo>
                    <a:pt x="899" y="625"/>
                  </a:lnTo>
                  <a:lnTo>
                    <a:pt x="899" y="674"/>
                  </a:lnTo>
                  <a:lnTo>
                    <a:pt x="903" y="718"/>
                  </a:lnTo>
                  <a:lnTo>
                    <a:pt x="911" y="726"/>
                  </a:lnTo>
                  <a:lnTo>
                    <a:pt x="924" y="734"/>
                  </a:lnTo>
                  <a:lnTo>
                    <a:pt x="948" y="759"/>
                  </a:lnTo>
                  <a:lnTo>
                    <a:pt x="964" y="783"/>
                  </a:lnTo>
                  <a:lnTo>
                    <a:pt x="964" y="831"/>
                  </a:lnTo>
                  <a:lnTo>
                    <a:pt x="964" y="880"/>
                  </a:lnTo>
                  <a:lnTo>
                    <a:pt x="948" y="888"/>
                  </a:lnTo>
                  <a:lnTo>
                    <a:pt x="936" y="904"/>
                  </a:lnTo>
                  <a:lnTo>
                    <a:pt x="919" y="904"/>
                  </a:lnTo>
                  <a:lnTo>
                    <a:pt x="899" y="904"/>
                  </a:lnTo>
                  <a:lnTo>
                    <a:pt x="899" y="908"/>
                  </a:lnTo>
                  <a:lnTo>
                    <a:pt x="895" y="908"/>
                  </a:lnTo>
                  <a:lnTo>
                    <a:pt x="871" y="916"/>
                  </a:lnTo>
                  <a:lnTo>
                    <a:pt x="855" y="924"/>
                  </a:lnTo>
                  <a:lnTo>
                    <a:pt x="851" y="928"/>
                  </a:lnTo>
                  <a:lnTo>
                    <a:pt x="847" y="932"/>
                  </a:lnTo>
                  <a:lnTo>
                    <a:pt x="843" y="952"/>
                  </a:lnTo>
                  <a:lnTo>
                    <a:pt x="843" y="968"/>
                  </a:lnTo>
                  <a:lnTo>
                    <a:pt x="835" y="972"/>
                  </a:lnTo>
                  <a:lnTo>
                    <a:pt x="823" y="981"/>
                  </a:lnTo>
                  <a:lnTo>
                    <a:pt x="802" y="989"/>
                  </a:lnTo>
                  <a:lnTo>
                    <a:pt x="786" y="997"/>
                  </a:lnTo>
                  <a:lnTo>
                    <a:pt x="766" y="1013"/>
                  </a:lnTo>
                  <a:lnTo>
                    <a:pt x="750" y="1021"/>
                  </a:lnTo>
                  <a:lnTo>
                    <a:pt x="722" y="1041"/>
                  </a:lnTo>
                  <a:lnTo>
                    <a:pt x="690" y="1053"/>
                  </a:lnTo>
                  <a:lnTo>
                    <a:pt x="669" y="1053"/>
                  </a:lnTo>
                  <a:lnTo>
                    <a:pt x="645" y="105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ru-RU" sz="1300" b="1">
                <a:latin typeface="Calibri" pitchFamily="34" charset="0"/>
                <a:cs typeface="+mn-cs"/>
              </a:endParaRPr>
            </a:p>
          </p:txBody>
        </p:sp>
        <p:grpSp>
          <p:nvGrpSpPr>
            <p:cNvPr id="147" name="Group 57"/>
            <p:cNvGrpSpPr>
              <a:grpSpLocks/>
            </p:cNvGrpSpPr>
            <p:nvPr/>
          </p:nvGrpSpPr>
          <p:grpSpPr bwMode="auto">
            <a:xfrm>
              <a:off x="1258994" y="2276736"/>
              <a:ext cx="1301771" cy="1170645"/>
              <a:chOff x="4014" y="4240"/>
              <a:chExt cx="3114" cy="2828"/>
            </a:xfrm>
            <a:solidFill>
              <a:srgbClr val="FFD1A3"/>
            </a:solidFill>
            <a:effectLst/>
          </p:grpSpPr>
          <p:sp>
            <p:nvSpPr>
              <p:cNvPr id="203" name="Freeform 58"/>
              <p:cNvSpPr>
                <a:spLocks/>
              </p:cNvSpPr>
              <p:nvPr/>
            </p:nvSpPr>
            <p:spPr bwMode="auto">
              <a:xfrm>
                <a:off x="4014" y="5584"/>
                <a:ext cx="1804" cy="1484"/>
              </a:xfrm>
              <a:custGeom>
                <a:avLst/>
                <a:gdLst>
                  <a:gd name="T0" fmla="*/ 150 w 839"/>
                  <a:gd name="T1" fmla="*/ 670 h 690"/>
                  <a:gd name="T2" fmla="*/ 129 w 839"/>
                  <a:gd name="T3" fmla="*/ 622 h 690"/>
                  <a:gd name="T4" fmla="*/ 170 w 839"/>
                  <a:gd name="T5" fmla="*/ 565 h 690"/>
                  <a:gd name="T6" fmla="*/ 166 w 839"/>
                  <a:gd name="T7" fmla="*/ 501 h 690"/>
                  <a:gd name="T8" fmla="*/ 134 w 839"/>
                  <a:gd name="T9" fmla="*/ 489 h 690"/>
                  <a:gd name="T10" fmla="*/ 97 w 839"/>
                  <a:gd name="T11" fmla="*/ 456 h 690"/>
                  <a:gd name="T12" fmla="*/ 77 w 839"/>
                  <a:gd name="T13" fmla="*/ 412 h 690"/>
                  <a:gd name="T14" fmla="*/ 17 w 839"/>
                  <a:gd name="T15" fmla="*/ 428 h 690"/>
                  <a:gd name="T16" fmla="*/ 0 w 839"/>
                  <a:gd name="T17" fmla="*/ 400 h 690"/>
                  <a:gd name="T18" fmla="*/ 17 w 839"/>
                  <a:gd name="T19" fmla="*/ 343 h 690"/>
                  <a:gd name="T20" fmla="*/ 69 w 839"/>
                  <a:gd name="T21" fmla="*/ 315 h 690"/>
                  <a:gd name="T22" fmla="*/ 85 w 839"/>
                  <a:gd name="T23" fmla="*/ 230 h 690"/>
                  <a:gd name="T24" fmla="*/ 105 w 839"/>
                  <a:gd name="T25" fmla="*/ 226 h 690"/>
                  <a:gd name="T26" fmla="*/ 105 w 839"/>
                  <a:gd name="T27" fmla="*/ 255 h 690"/>
                  <a:gd name="T28" fmla="*/ 113 w 839"/>
                  <a:gd name="T29" fmla="*/ 323 h 690"/>
                  <a:gd name="T30" fmla="*/ 150 w 839"/>
                  <a:gd name="T31" fmla="*/ 323 h 690"/>
                  <a:gd name="T32" fmla="*/ 182 w 839"/>
                  <a:gd name="T33" fmla="*/ 242 h 690"/>
                  <a:gd name="T34" fmla="*/ 230 w 839"/>
                  <a:gd name="T35" fmla="*/ 226 h 690"/>
                  <a:gd name="T36" fmla="*/ 259 w 839"/>
                  <a:gd name="T37" fmla="*/ 242 h 690"/>
                  <a:gd name="T38" fmla="*/ 291 w 839"/>
                  <a:gd name="T39" fmla="*/ 250 h 690"/>
                  <a:gd name="T40" fmla="*/ 323 w 839"/>
                  <a:gd name="T41" fmla="*/ 190 h 690"/>
                  <a:gd name="T42" fmla="*/ 355 w 839"/>
                  <a:gd name="T43" fmla="*/ 85 h 690"/>
                  <a:gd name="T44" fmla="*/ 339 w 839"/>
                  <a:gd name="T45" fmla="*/ 49 h 690"/>
                  <a:gd name="T46" fmla="*/ 343 w 839"/>
                  <a:gd name="T47" fmla="*/ 4 h 690"/>
                  <a:gd name="T48" fmla="*/ 376 w 839"/>
                  <a:gd name="T49" fmla="*/ 4 h 690"/>
                  <a:gd name="T50" fmla="*/ 412 w 839"/>
                  <a:gd name="T51" fmla="*/ 45 h 690"/>
                  <a:gd name="T52" fmla="*/ 501 w 839"/>
                  <a:gd name="T53" fmla="*/ 61 h 690"/>
                  <a:gd name="T54" fmla="*/ 537 w 839"/>
                  <a:gd name="T55" fmla="*/ 53 h 690"/>
                  <a:gd name="T56" fmla="*/ 569 w 839"/>
                  <a:gd name="T57" fmla="*/ 21 h 690"/>
                  <a:gd name="T58" fmla="*/ 626 w 839"/>
                  <a:gd name="T59" fmla="*/ 37 h 690"/>
                  <a:gd name="T60" fmla="*/ 759 w 839"/>
                  <a:gd name="T61" fmla="*/ 61 h 690"/>
                  <a:gd name="T62" fmla="*/ 839 w 839"/>
                  <a:gd name="T63" fmla="*/ 125 h 690"/>
                  <a:gd name="T64" fmla="*/ 743 w 839"/>
                  <a:gd name="T65" fmla="*/ 158 h 690"/>
                  <a:gd name="T66" fmla="*/ 731 w 839"/>
                  <a:gd name="T67" fmla="*/ 218 h 690"/>
                  <a:gd name="T68" fmla="*/ 727 w 839"/>
                  <a:gd name="T69" fmla="*/ 267 h 690"/>
                  <a:gd name="T70" fmla="*/ 702 w 839"/>
                  <a:gd name="T71" fmla="*/ 307 h 690"/>
                  <a:gd name="T72" fmla="*/ 650 w 839"/>
                  <a:gd name="T73" fmla="*/ 359 h 690"/>
                  <a:gd name="T74" fmla="*/ 610 w 839"/>
                  <a:gd name="T75" fmla="*/ 376 h 690"/>
                  <a:gd name="T76" fmla="*/ 585 w 839"/>
                  <a:gd name="T77" fmla="*/ 388 h 690"/>
                  <a:gd name="T78" fmla="*/ 593 w 839"/>
                  <a:gd name="T79" fmla="*/ 428 h 690"/>
                  <a:gd name="T80" fmla="*/ 597 w 839"/>
                  <a:gd name="T81" fmla="*/ 460 h 690"/>
                  <a:gd name="T82" fmla="*/ 593 w 839"/>
                  <a:gd name="T83" fmla="*/ 497 h 690"/>
                  <a:gd name="T84" fmla="*/ 610 w 839"/>
                  <a:gd name="T85" fmla="*/ 521 h 690"/>
                  <a:gd name="T86" fmla="*/ 597 w 839"/>
                  <a:gd name="T87" fmla="*/ 545 h 690"/>
                  <a:gd name="T88" fmla="*/ 561 w 839"/>
                  <a:gd name="T89" fmla="*/ 593 h 690"/>
                  <a:gd name="T90" fmla="*/ 529 w 839"/>
                  <a:gd name="T91" fmla="*/ 650 h 690"/>
                  <a:gd name="T92" fmla="*/ 484 w 839"/>
                  <a:gd name="T93" fmla="*/ 662 h 690"/>
                  <a:gd name="T94" fmla="*/ 359 w 839"/>
                  <a:gd name="T95" fmla="*/ 650 h 690"/>
                  <a:gd name="T96" fmla="*/ 295 w 839"/>
                  <a:gd name="T97" fmla="*/ 642 h 690"/>
                  <a:gd name="T98" fmla="*/ 259 w 839"/>
                  <a:gd name="T99" fmla="*/ 654 h 690"/>
                  <a:gd name="T100" fmla="*/ 198 w 839"/>
                  <a:gd name="T101" fmla="*/ 690 h 69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39"/>
                  <a:gd name="T154" fmla="*/ 0 h 690"/>
                  <a:gd name="T155" fmla="*/ 839 w 839"/>
                  <a:gd name="T156" fmla="*/ 690 h 69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39" h="690">
                    <a:moveTo>
                      <a:pt x="174" y="690"/>
                    </a:moveTo>
                    <a:lnTo>
                      <a:pt x="174" y="686"/>
                    </a:lnTo>
                    <a:lnTo>
                      <a:pt x="170" y="678"/>
                    </a:lnTo>
                    <a:lnTo>
                      <a:pt x="150" y="670"/>
                    </a:lnTo>
                    <a:lnTo>
                      <a:pt x="134" y="658"/>
                    </a:lnTo>
                    <a:lnTo>
                      <a:pt x="129" y="658"/>
                    </a:lnTo>
                    <a:lnTo>
                      <a:pt x="129" y="650"/>
                    </a:lnTo>
                    <a:lnTo>
                      <a:pt x="129" y="622"/>
                    </a:lnTo>
                    <a:lnTo>
                      <a:pt x="134" y="589"/>
                    </a:lnTo>
                    <a:lnTo>
                      <a:pt x="150" y="581"/>
                    </a:lnTo>
                    <a:lnTo>
                      <a:pt x="170" y="565"/>
                    </a:lnTo>
                    <a:lnTo>
                      <a:pt x="174" y="557"/>
                    </a:lnTo>
                    <a:lnTo>
                      <a:pt x="174" y="529"/>
                    </a:lnTo>
                    <a:lnTo>
                      <a:pt x="174" y="501"/>
                    </a:lnTo>
                    <a:lnTo>
                      <a:pt x="166" y="501"/>
                    </a:lnTo>
                    <a:lnTo>
                      <a:pt x="150" y="497"/>
                    </a:lnTo>
                    <a:lnTo>
                      <a:pt x="146" y="493"/>
                    </a:lnTo>
                    <a:lnTo>
                      <a:pt x="142" y="489"/>
                    </a:lnTo>
                    <a:lnTo>
                      <a:pt x="134" y="489"/>
                    </a:lnTo>
                    <a:lnTo>
                      <a:pt x="117" y="489"/>
                    </a:lnTo>
                    <a:lnTo>
                      <a:pt x="113" y="484"/>
                    </a:lnTo>
                    <a:lnTo>
                      <a:pt x="97" y="476"/>
                    </a:lnTo>
                    <a:lnTo>
                      <a:pt x="97" y="456"/>
                    </a:lnTo>
                    <a:lnTo>
                      <a:pt x="97" y="428"/>
                    </a:lnTo>
                    <a:lnTo>
                      <a:pt x="89" y="420"/>
                    </a:lnTo>
                    <a:lnTo>
                      <a:pt x="81" y="412"/>
                    </a:lnTo>
                    <a:lnTo>
                      <a:pt x="77" y="412"/>
                    </a:lnTo>
                    <a:lnTo>
                      <a:pt x="65" y="412"/>
                    </a:lnTo>
                    <a:lnTo>
                      <a:pt x="41" y="420"/>
                    </a:lnTo>
                    <a:lnTo>
                      <a:pt x="21" y="428"/>
                    </a:lnTo>
                    <a:lnTo>
                      <a:pt x="17" y="428"/>
                    </a:lnTo>
                    <a:lnTo>
                      <a:pt x="12" y="428"/>
                    </a:lnTo>
                    <a:lnTo>
                      <a:pt x="4" y="428"/>
                    </a:lnTo>
                    <a:lnTo>
                      <a:pt x="4" y="420"/>
                    </a:lnTo>
                    <a:lnTo>
                      <a:pt x="0" y="400"/>
                    </a:lnTo>
                    <a:lnTo>
                      <a:pt x="0" y="388"/>
                    </a:lnTo>
                    <a:lnTo>
                      <a:pt x="4" y="372"/>
                    </a:lnTo>
                    <a:lnTo>
                      <a:pt x="4" y="351"/>
                    </a:lnTo>
                    <a:lnTo>
                      <a:pt x="17" y="343"/>
                    </a:lnTo>
                    <a:lnTo>
                      <a:pt x="29" y="339"/>
                    </a:lnTo>
                    <a:lnTo>
                      <a:pt x="41" y="335"/>
                    </a:lnTo>
                    <a:lnTo>
                      <a:pt x="57" y="331"/>
                    </a:lnTo>
                    <a:lnTo>
                      <a:pt x="69" y="315"/>
                    </a:lnTo>
                    <a:lnTo>
                      <a:pt x="81" y="299"/>
                    </a:lnTo>
                    <a:lnTo>
                      <a:pt x="81" y="267"/>
                    </a:lnTo>
                    <a:lnTo>
                      <a:pt x="81" y="238"/>
                    </a:lnTo>
                    <a:lnTo>
                      <a:pt x="85" y="230"/>
                    </a:lnTo>
                    <a:lnTo>
                      <a:pt x="85" y="226"/>
                    </a:lnTo>
                    <a:lnTo>
                      <a:pt x="93" y="226"/>
                    </a:lnTo>
                    <a:lnTo>
                      <a:pt x="97" y="226"/>
                    </a:lnTo>
                    <a:lnTo>
                      <a:pt x="105" y="226"/>
                    </a:lnTo>
                    <a:lnTo>
                      <a:pt x="109" y="230"/>
                    </a:lnTo>
                    <a:lnTo>
                      <a:pt x="109" y="238"/>
                    </a:lnTo>
                    <a:lnTo>
                      <a:pt x="109" y="242"/>
                    </a:lnTo>
                    <a:lnTo>
                      <a:pt x="105" y="255"/>
                    </a:lnTo>
                    <a:lnTo>
                      <a:pt x="97" y="263"/>
                    </a:lnTo>
                    <a:lnTo>
                      <a:pt x="97" y="299"/>
                    </a:lnTo>
                    <a:lnTo>
                      <a:pt x="105" y="315"/>
                    </a:lnTo>
                    <a:lnTo>
                      <a:pt x="113" y="323"/>
                    </a:lnTo>
                    <a:lnTo>
                      <a:pt x="121" y="323"/>
                    </a:lnTo>
                    <a:lnTo>
                      <a:pt x="134" y="323"/>
                    </a:lnTo>
                    <a:lnTo>
                      <a:pt x="142" y="323"/>
                    </a:lnTo>
                    <a:lnTo>
                      <a:pt x="150" y="323"/>
                    </a:lnTo>
                    <a:lnTo>
                      <a:pt x="162" y="315"/>
                    </a:lnTo>
                    <a:lnTo>
                      <a:pt x="166" y="311"/>
                    </a:lnTo>
                    <a:lnTo>
                      <a:pt x="174" y="275"/>
                    </a:lnTo>
                    <a:lnTo>
                      <a:pt x="182" y="242"/>
                    </a:lnTo>
                    <a:lnTo>
                      <a:pt x="186" y="230"/>
                    </a:lnTo>
                    <a:lnTo>
                      <a:pt x="194" y="226"/>
                    </a:lnTo>
                    <a:lnTo>
                      <a:pt x="218" y="226"/>
                    </a:lnTo>
                    <a:lnTo>
                      <a:pt x="230" y="226"/>
                    </a:lnTo>
                    <a:lnTo>
                      <a:pt x="234" y="230"/>
                    </a:lnTo>
                    <a:lnTo>
                      <a:pt x="234" y="238"/>
                    </a:lnTo>
                    <a:lnTo>
                      <a:pt x="246" y="242"/>
                    </a:lnTo>
                    <a:lnTo>
                      <a:pt x="259" y="242"/>
                    </a:lnTo>
                    <a:lnTo>
                      <a:pt x="263" y="246"/>
                    </a:lnTo>
                    <a:lnTo>
                      <a:pt x="271" y="246"/>
                    </a:lnTo>
                    <a:lnTo>
                      <a:pt x="279" y="250"/>
                    </a:lnTo>
                    <a:lnTo>
                      <a:pt x="291" y="250"/>
                    </a:lnTo>
                    <a:lnTo>
                      <a:pt x="307" y="250"/>
                    </a:lnTo>
                    <a:lnTo>
                      <a:pt x="315" y="238"/>
                    </a:lnTo>
                    <a:lnTo>
                      <a:pt x="323" y="226"/>
                    </a:lnTo>
                    <a:lnTo>
                      <a:pt x="323" y="190"/>
                    </a:lnTo>
                    <a:lnTo>
                      <a:pt x="315" y="146"/>
                    </a:lnTo>
                    <a:lnTo>
                      <a:pt x="335" y="121"/>
                    </a:lnTo>
                    <a:lnTo>
                      <a:pt x="355" y="97"/>
                    </a:lnTo>
                    <a:lnTo>
                      <a:pt x="355" y="85"/>
                    </a:lnTo>
                    <a:lnTo>
                      <a:pt x="355" y="69"/>
                    </a:lnTo>
                    <a:lnTo>
                      <a:pt x="347" y="65"/>
                    </a:lnTo>
                    <a:lnTo>
                      <a:pt x="343" y="61"/>
                    </a:lnTo>
                    <a:lnTo>
                      <a:pt x="339" y="49"/>
                    </a:lnTo>
                    <a:lnTo>
                      <a:pt x="339" y="41"/>
                    </a:lnTo>
                    <a:lnTo>
                      <a:pt x="339" y="21"/>
                    </a:lnTo>
                    <a:lnTo>
                      <a:pt x="339" y="8"/>
                    </a:lnTo>
                    <a:lnTo>
                      <a:pt x="343" y="4"/>
                    </a:lnTo>
                    <a:lnTo>
                      <a:pt x="355" y="0"/>
                    </a:lnTo>
                    <a:lnTo>
                      <a:pt x="359" y="0"/>
                    </a:lnTo>
                    <a:lnTo>
                      <a:pt x="367" y="0"/>
                    </a:lnTo>
                    <a:lnTo>
                      <a:pt x="376" y="4"/>
                    </a:lnTo>
                    <a:lnTo>
                      <a:pt x="388" y="12"/>
                    </a:lnTo>
                    <a:lnTo>
                      <a:pt x="392" y="25"/>
                    </a:lnTo>
                    <a:lnTo>
                      <a:pt x="400" y="41"/>
                    </a:lnTo>
                    <a:lnTo>
                      <a:pt x="412" y="45"/>
                    </a:lnTo>
                    <a:lnTo>
                      <a:pt x="420" y="53"/>
                    </a:lnTo>
                    <a:lnTo>
                      <a:pt x="452" y="57"/>
                    </a:lnTo>
                    <a:lnTo>
                      <a:pt x="489" y="61"/>
                    </a:lnTo>
                    <a:lnTo>
                      <a:pt x="501" y="61"/>
                    </a:lnTo>
                    <a:lnTo>
                      <a:pt x="509" y="61"/>
                    </a:lnTo>
                    <a:lnTo>
                      <a:pt x="517" y="61"/>
                    </a:lnTo>
                    <a:lnTo>
                      <a:pt x="537" y="57"/>
                    </a:lnTo>
                    <a:lnTo>
                      <a:pt x="537" y="53"/>
                    </a:lnTo>
                    <a:lnTo>
                      <a:pt x="541" y="49"/>
                    </a:lnTo>
                    <a:lnTo>
                      <a:pt x="541" y="37"/>
                    </a:lnTo>
                    <a:lnTo>
                      <a:pt x="537" y="21"/>
                    </a:lnTo>
                    <a:lnTo>
                      <a:pt x="569" y="21"/>
                    </a:lnTo>
                    <a:lnTo>
                      <a:pt x="597" y="25"/>
                    </a:lnTo>
                    <a:lnTo>
                      <a:pt x="606" y="25"/>
                    </a:lnTo>
                    <a:lnTo>
                      <a:pt x="606" y="29"/>
                    </a:lnTo>
                    <a:lnTo>
                      <a:pt x="626" y="37"/>
                    </a:lnTo>
                    <a:lnTo>
                      <a:pt x="658" y="45"/>
                    </a:lnTo>
                    <a:lnTo>
                      <a:pt x="698" y="49"/>
                    </a:lnTo>
                    <a:lnTo>
                      <a:pt x="743" y="57"/>
                    </a:lnTo>
                    <a:lnTo>
                      <a:pt x="759" y="61"/>
                    </a:lnTo>
                    <a:lnTo>
                      <a:pt x="779" y="69"/>
                    </a:lnTo>
                    <a:lnTo>
                      <a:pt x="819" y="101"/>
                    </a:lnTo>
                    <a:lnTo>
                      <a:pt x="839" y="121"/>
                    </a:lnTo>
                    <a:lnTo>
                      <a:pt x="839" y="125"/>
                    </a:lnTo>
                    <a:lnTo>
                      <a:pt x="831" y="129"/>
                    </a:lnTo>
                    <a:lnTo>
                      <a:pt x="807" y="133"/>
                    </a:lnTo>
                    <a:lnTo>
                      <a:pt x="759" y="142"/>
                    </a:lnTo>
                    <a:lnTo>
                      <a:pt x="743" y="158"/>
                    </a:lnTo>
                    <a:lnTo>
                      <a:pt x="735" y="166"/>
                    </a:lnTo>
                    <a:lnTo>
                      <a:pt x="731" y="194"/>
                    </a:lnTo>
                    <a:lnTo>
                      <a:pt x="727" y="214"/>
                    </a:lnTo>
                    <a:lnTo>
                      <a:pt x="731" y="218"/>
                    </a:lnTo>
                    <a:lnTo>
                      <a:pt x="735" y="222"/>
                    </a:lnTo>
                    <a:lnTo>
                      <a:pt x="735" y="238"/>
                    </a:lnTo>
                    <a:lnTo>
                      <a:pt x="735" y="250"/>
                    </a:lnTo>
                    <a:lnTo>
                      <a:pt x="727" y="267"/>
                    </a:lnTo>
                    <a:lnTo>
                      <a:pt x="722" y="279"/>
                    </a:lnTo>
                    <a:lnTo>
                      <a:pt x="710" y="291"/>
                    </a:lnTo>
                    <a:lnTo>
                      <a:pt x="702" y="299"/>
                    </a:lnTo>
                    <a:lnTo>
                      <a:pt x="702" y="307"/>
                    </a:lnTo>
                    <a:lnTo>
                      <a:pt x="698" y="315"/>
                    </a:lnTo>
                    <a:lnTo>
                      <a:pt x="682" y="335"/>
                    </a:lnTo>
                    <a:lnTo>
                      <a:pt x="666" y="347"/>
                    </a:lnTo>
                    <a:lnTo>
                      <a:pt x="650" y="359"/>
                    </a:lnTo>
                    <a:lnTo>
                      <a:pt x="630" y="363"/>
                    </a:lnTo>
                    <a:lnTo>
                      <a:pt x="622" y="363"/>
                    </a:lnTo>
                    <a:lnTo>
                      <a:pt x="614" y="372"/>
                    </a:lnTo>
                    <a:lnTo>
                      <a:pt x="610" y="376"/>
                    </a:lnTo>
                    <a:lnTo>
                      <a:pt x="597" y="380"/>
                    </a:lnTo>
                    <a:lnTo>
                      <a:pt x="593" y="384"/>
                    </a:lnTo>
                    <a:lnTo>
                      <a:pt x="589" y="384"/>
                    </a:lnTo>
                    <a:lnTo>
                      <a:pt x="585" y="388"/>
                    </a:lnTo>
                    <a:lnTo>
                      <a:pt x="581" y="396"/>
                    </a:lnTo>
                    <a:lnTo>
                      <a:pt x="581" y="400"/>
                    </a:lnTo>
                    <a:lnTo>
                      <a:pt x="581" y="412"/>
                    </a:lnTo>
                    <a:lnTo>
                      <a:pt x="593" y="428"/>
                    </a:lnTo>
                    <a:lnTo>
                      <a:pt x="606" y="444"/>
                    </a:lnTo>
                    <a:lnTo>
                      <a:pt x="606" y="448"/>
                    </a:lnTo>
                    <a:lnTo>
                      <a:pt x="606" y="452"/>
                    </a:lnTo>
                    <a:lnTo>
                      <a:pt x="597" y="460"/>
                    </a:lnTo>
                    <a:lnTo>
                      <a:pt x="589" y="468"/>
                    </a:lnTo>
                    <a:lnTo>
                      <a:pt x="589" y="484"/>
                    </a:lnTo>
                    <a:lnTo>
                      <a:pt x="589" y="497"/>
                    </a:lnTo>
                    <a:lnTo>
                      <a:pt x="593" y="497"/>
                    </a:lnTo>
                    <a:lnTo>
                      <a:pt x="597" y="501"/>
                    </a:lnTo>
                    <a:lnTo>
                      <a:pt x="597" y="509"/>
                    </a:lnTo>
                    <a:lnTo>
                      <a:pt x="597" y="517"/>
                    </a:lnTo>
                    <a:lnTo>
                      <a:pt x="610" y="521"/>
                    </a:lnTo>
                    <a:lnTo>
                      <a:pt x="614" y="529"/>
                    </a:lnTo>
                    <a:lnTo>
                      <a:pt x="618" y="537"/>
                    </a:lnTo>
                    <a:lnTo>
                      <a:pt x="618" y="545"/>
                    </a:lnTo>
                    <a:lnTo>
                      <a:pt x="597" y="545"/>
                    </a:lnTo>
                    <a:lnTo>
                      <a:pt x="585" y="545"/>
                    </a:lnTo>
                    <a:lnTo>
                      <a:pt x="573" y="553"/>
                    </a:lnTo>
                    <a:lnTo>
                      <a:pt x="569" y="565"/>
                    </a:lnTo>
                    <a:lnTo>
                      <a:pt x="561" y="593"/>
                    </a:lnTo>
                    <a:lnTo>
                      <a:pt x="557" y="626"/>
                    </a:lnTo>
                    <a:lnTo>
                      <a:pt x="545" y="634"/>
                    </a:lnTo>
                    <a:lnTo>
                      <a:pt x="533" y="642"/>
                    </a:lnTo>
                    <a:lnTo>
                      <a:pt x="529" y="650"/>
                    </a:lnTo>
                    <a:lnTo>
                      <a:pt x="521" y="654"/>
                    </a:lnTo>
                    <a:lnTo>
                      <a:pt x="517" y="658"/>
                    </a:lnTo>
                    <a:lnTo>
                      <a:pt x="505" y="658"/>
                    </a:lnTo>
                    <a:lnTo>
                      <a:pt x="484" y="662"/>
                    </a:lnTo>
                    <a:lnTo>
                      <a:pt x="452" y="662"/>
                    </a:lnTo>
                    <a:lnTo>
                      <a:pt x="416" y="662"/>
                    </a:lnTo>
                    <a:lnTo>
                      <a:pt x="388" y="658"/>
                    </a:lnTo>
                    <a:lnTo>
                      <a:pt x="359" y="650"/>
                    </a:lnTo>
                    <a:lnTo>
                      <a:pt x="339" y="642"/>
                    </a:lnTo>
                    <a:lnTo>
                      <a:pt x="323" y="642"/>
                    </a:lnTo>
                    <a:lnTo>
                      <a:pt x="295" y="642"/>
                    </a:lnTo>
                    <a:lnTo>
                      <a:pt x="271" y="634"/>
                    </a:lnTo>
                    <a:lnTo>
                      <a:pt x="271" y="642"/>
                    </a:lnTo>
                    <a:lnTo>
                      <a:pt x="263" y="642"/>
                    </a:lnTo>
                    <a:lnTo>
                      <a:pt x="259" y="654"/>
                    </a:lnTo>
                    <a:lnTo>
                      <a:pt x="255" y="666"/>
                    </a:lnTo>
                    <a:lnTo>
                      <a:pt x="238" y="674"/>
                    </a:lnTo>
                    <a:lnTo>
                      <a:pt x="222" y="686"/>
                    </a:lnTo>
                    <a:lnTo>
                      <a:pt x="198" y="690"/>
                    </a:lnTo>
                    <a:lnTo>
                      <a:pt x="174" y="69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1300" b="1"/>
              </a:p>
            </p:txBody>
          </p:sp>
          <p:sp>
            <p:nvSpPr>
              <p:cNvPr id="204" name="Freeform 59"/>
              <p:cNvSpPr>
                <a:spLocks/>
              </p:cNvSpPr>
              <p:nvPr/>
            </p:nvSpPr>
            <p:spPr bwMode="auto">
              <a:xfrm>
                <a:off x="5168" y="4240"/>
                <a:ext cx="1960" cy="1344"/>
              </a:xfrm>
              <a:custGeom>
                <a:avLst/>
                <a:gdLst>
                  <a:gd name="T0" fmla="*/ 541 w 912"/>
                  <a:gd name="T1" fmla="*/ 613 h 625"/>
                  <a:gd name="T2" fmla="*/ 504 w 912"/>
                  <a:gd name="T3" fmla="*/ 605 h 625"/>
                  <a:gd name="T4" fmla="*/ 383 w 912"/>
                  <a:gd name="T5" fmla="*/ 593 h 625"/>
                  <a:gd name="T6" fmla="*/ 343 w 912"/>
                  <a:gd name="T7" fmla="*/ 581 h 625"/>
                  <a:gd name="T8" fmla="*/ 282 w 912"/>
                  <a:gd name="T9" fmla="*/ 569 h 625"/>
                  <a:gd name="T10" fmla="*/ 198 w 912"/>
                  <a:gd name="T11" fmla="*/ 553 h 625"/>
                  <a:gd name="T12" fmla="*/ 161 w 912"/>
                  <a:gd name="T13" fmla="*/ 549 h 625"/>
                  <a:gd name="T14" fmla="*/ 121 w 912"/>
                  <a:gd name="T15" fmla="*/ 541 h 625"/>
                  <a:gd name="T16" fmla="*/ 73 w 912"/>
                  <a:gd name="T17" fmla="*/ 533 h 625"/>
                  <a:gd name="T18" fmla="*/ 36 w 912"/>
                  <a:gd name="T19" fmla="*/ 504 h 625"/>
                  <a:gd name="T20" fmla="*/ 24 w 912"/>
                  <a:gd name="T21" fmla="*/ 488 h 625"/>
                  <a:gd name="T22" fmla="*/ 0 w 912"/>
                  <a:gd name="T23" fmla="*/ 472 h 625"/>
                  <a:gd name="T24" fmla="*/ 4 w 912"/>
                  <a:gd name="T25" fmla="*/ 440 h 625"/>
                  <a:gd name="T26" fmla="*/ 8 w 912"/>
                  <a:gd name="T27" fmla="*/ 420 h 625"/>
                  <a:gd name="T28" fmla="*/ 24 w 912"/>
                  <a:gd name="T29" fmla="*/ 399 h 625"/>
                  <a:gd name="T30" fmla="*/ 77 w 912"/>
                  <a:gd name="T31" fmla="*/ 367 h 625"/>
                  <a:gd name="T32" fmla="*/ 109 w 912"/>
                  <a:gd name="T33" fmla="*/ 351 h 625"/>
                  <a:gd name="T34" fmla="*/ 161 w 912"/>
                  <a:gd name="T35" fmla="*/ 339 h 625"/>
                  <a:gd name="T36" fmla="*/ 238 w 912"/>
                  <a:gd name="T37" fmla="*/ 323 h 625"/>
                  <a:gd name="T38" fmla="*/ 294 w 912"/>
                  <a:gd name="T39" fmla="*/ 331 h 625"/>
                  <a:gd name="T40" fmla="*/ 347 w 912"/>
                  <a:gd name="T41" fmla="*/ 339 h 625"/>
                  <a:gd name="T42" fmla="*/ 367 w 912"/>
                  <a:gd name="T43" fmla="*/ 319 h 625"/>
                  <a:gd name="T44" fmla="*/ 395 w 912"/>
                  <a:gd name="T45" fmla="*/ 290 h 625"/>
                  <a:gd name="T46" fmla="*/ 415 w 912"/>
                  <a:gd name="T47" fmla="*/ 230 h 625"/>
                  <a:gd name="T48" fmla="*/ 428 w 912"/>
                  <a:gd name="T49" fmla="*/ 157 h 625"/>
                  <a:gd name="T50" fmla="*/ 415 w 912"/>
                  <a:gd name="T51" fmla="*/ 137 h 625"/>
                  <a:gd name="T52" fmla="*/ 399 w 912"/>
                  <a:gd name="T53" fmla="*/ 125 h 625"/>
                  <a:gd name="T54" fmla="*/ 371 w 912"/>
                  <a:gd name="T55" fmla="*/ 89 h 625"/>
                  <a:gd name="T56" fmla="*/ 399 w 912"/>
                  <a:gd name="T57" fmla="*/ 69 h 625"/>
                  <a:gd name="T58" fmla="*/ 415 w 912"/>
                  <a:gd name="T59" fmla="*/ 36 h 625"/>
                  <a:gd name="T60" fmla="*/ 424 w 912"/>
                  <a:gd name="T61" fmla="*/ 0 h 625"/>
                  <a:gd name="T62" fmla="*/ 452 w 912"/>
                  <a:gd name="T63" fmla="*/ 16 h 625"/>
                  <a:gd name="T64" fmla="*/ 528 w 912"/>
                  <a:gd name="T65" fmla="*/ 28 h 625"/>
                  <a:gd name="T66" fmla="*/ 637 w 912"/>
                  <a:gd name="T67" fmla="*/ 65 h 625"/>
                  <a:gd name="T68" fmla="*/ 678 w 912"/>
                  <a:gd name="T69" fmla="*/ 121 h 625"/>
                  <a:gd name="T70" fmla="*/ 706 w 912"/>
                  <a:gd name="T71" fmla="*/ 137 h 625"/>
                  <a:gd name="T72" fmla="*/ 738 w 912"/>
                  <a:gd name="T73" fmla="*/ 145 h 625"/>
                  <a:gd name="T74" fmla="*/ 766 w 912"/>
                  <a:gd name="T75" fmla="*/ 125 h 625"/>
                  <a:gd name="T76" fmla="*/ 803 w 912"/>
                  <a:gd name="T77" fmla="*/ 133 h 625"/>
                  <a:gd name="T78" fmla="*/ 855 w 912"/>
                  <a:gd name="T79" fmla="*/ 137 h 625"/>
                  <a:gd name="T80" fmla="*/ 875 w 912"/>
                  <a:gd name="T81" fmla="*/ 169 h 625"/>
                  <a:gd name="T82" fmla="*/ 896 w 912"/>
                  <a:gd name="T83" fmla="*/ 173 h 625"/>
                  <a:gd name="T84" fmla="*/ 912 w 912"/>
                  <a:gd name="T85" fmla="*/ 210 h 625"/>
                  <a:gd name="T86" fmla="*/ 908 w 912"/>
                  <a:gd name="T87" fmla="*/ 250 h 625"/>
                  <a:gd name="T88" fmla="*/ 883 w 912"/>
                  <a:gd name="T89" fmla="*/ 254 h 625"/>
                  <a:gd name="T90" fmla="*/ 851 w 912"/>
                  <a:gd name="T91" fmla="*/ 246 h 625"/>
                  <a:gd name="T92" fmla="*/ 835 w 912"/>
                  <a:gd name="T93" fmla="*/ 295 h 625"/>
                  <a:gd name="T94" fmla="*/ 867 w 912"/>
                  <a:gd name="T95" fmla="*/ 315 h 625"/>
                  <a:gd name="T96" fmla="*/ 891 w 912"/>
                  <a:gd name="T97" fmla="*/ 331 h 625"/>
                  <a:gd name="T98" fmla="*/ 871 w 912"/>
                  <a:gd name="T99" fmla="*/ 387 h 625"/>
                  <a:gd name="T100" fmla="*/ 843 w 912"/>
                  <a:gd name="T101" fmla="*/ 420 h 625"/>
                  <a:gd name="T102" fmla="*/ 750 w 912"/>
                  <a:gd name="T103" fmla="*/ 448 h 625"/>
                  <a:gd name="T104" fmla="*/ 678 w 912"/>
                  <a:gd name="T105" fmla="*/ 476 h 625"/>
                  <a:gd name="T106" fmla="*/ 641 w 912"/>
                  <a:gd name="T107" fmla="*/ 508 h 625"/>
                  <a:gd name="T108" fmla="*/ 621 w 912"/>
                  <a:gd name="T109" fmla="*/ 537 h 625"/>
                  <a:gd name="T110" fmla="*/ 605 w 912"/>
                  <a:gd name="T111" fmla="*/ 621 h 625"/>
                  <a:gd name="T112" fmla="*/ 589 w 912"/>
                  <a:gd name="T113" fmla="*/ 625 h 62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912"/>
                  <a:gd name="T172" fmla="*/ 0 h 625"/>
                  <a:gd name="T173" fmla="*/ 912 w 912"/>
                  <a:gd name="T174" fmla="*/ 625 h 62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912" h="625">
                    <a:moveTo>
                      <a:pt x="589" y="625"/>
                    </a:moveTo>
                    <a:lnTo>
                      <a:pt x="577" y="621"/>
                    </a:lnTo>
                    <a:lnTo>
                      <a:pt x="541" y="613"/>
                    </a:lnTo>
                    <a:lnTo>
                      <a:pt x="524" y="613"/>
                    </a:lnTo>
                    <a:lnTo>
                      <a:pt x="508" y="605"/>
                    </a:lnTo>
                    <a:lnTo>
                      <a:pt x="504" y="605"/>
                    </a:lnTo>
                    <a:lnTo>
                      <a:pt x="504" y="601"/>
                    </a:lnTo>
                    <a:lnTo>
                      <a:pt x="448" y="597"/>
                    </a:lnTo>
                    <a:lnTo>
                      <a:pt x="383" y="593"/>
                    </a:lnTo>
                    <a:lnTo>
                      <a:pt x="383" y="589"/>
                    </a:lnTo>
                    <a:lnTo>
                      <a:pt x="379" y="585"/>
                    </a:lnTo>
                    <a:lnTo>
                      <a:pt x="343" y="581"/>
                    </a:lnTo>
                    <a:lnTo>
                      <a:pt x="315" y="573"/>
                    </a:lnTo>
                    <a:lnTo>
                      <a:pt x="311" y="569"/>
                    </a:lnTo>
                    <a:lnTo>
                      <a:pt x="282" y="569"/>
                    </a:lnTo>
                    <a:lnTo>
                      <a:pt x="210" y="561"/>
                    </a:lnTo>
                    <a:lnTo>
                      <a:pt x="206" y="561"/>
                    </a:lnTo>
                    <a:lnTo>
                      <a:pt x="198" y="553"/>
                    </a:lnTo>
                    <a:lnTo>
                      <a:pt x="185" y="553"/>
                    </a:lnTo>
                    <a:lnTo>
                      <a:pt x="169" y="549"/>
                    </a:lnTo>
                    <a:lnTo>
                      <a:pt x="161" y="549"/>
                    </a:lnTo>
                    <a:lnTo>
                      <a:pt x="161" y="545"/>
                    </a:lnTo>
                    <a:lnTo>
                      <a:pt x="141" y="541"/>
                    </a:lnTo>
                    <a:lnTo>
                      <a:pt x="121" y="541"/>
                    </a:lnTo>
                    <a:lnTo>
                      <a:pt x="109" y="537"/>
                    </a:lnTo>
                    <a:lnTo>
                      <a:pt x="101" y="533"/>
                    </a:lnTo>
                    <a:lnTo>
                      <a:pt x="73" y="533"/>
                    </a:lnTo>
                    <a:lnTo>
                      <a:pt x="36" y="533"/>
                    </a:lnTo>
                    <a:lnTo>
                      <a:pt x="36" y="520"/>
                    </a:lnTo>
                    <a:lnTo>
                      <a:pt x="36" y="504"/>
                    </a:lnTo>
                    <a:lnTo>
                      <a:pt x="32" y="500"/>
                    </a:lnTo>
                    <a:lnTo>
                      <a:pt x="32" y="488"/>
                    </a:lnTo>
                    <a:lnTo>
                      <a:pt x="24" y="488"/>
                    </a:lnTo>
                    <a:lnTo>
                      <a:pt x="16" y="488"/>
                    </a:lnTo>
                    <a:lnTo>
                      <a:pt x="8" y="476"/>
                    </a:lnTo>
                    <a:lnTo>
                      <a:pt x="0" y="472"/>
                    </a:lnTo>
                    <a:lnTo>
                      <a:pt x="0" y="460"/>
                    </a:lnTo>
                    <a:lnTo>
                      <a:pt x="0" y="448"/>
                    </a:lnTo>
                    <a:lnTo>
                      <a:pt x="4" y="440"/>
                    </a:lnTo>
                    <a:lnTo>
                      <a:pt x="4" y="436"/>
                    </a:lnTo>
                    <a:lnTo>
                      <a:pt x="8" y="424"/>
                    </a:lnTo>
                    <a:lnTo>
                      <a:pt x="8" y="420"/>
                    </a:lnTo>
                    <a:lnTo>
                      <a:pt x="16" y="416"/>
                    </a:lnTo>
                    <a:lnTo>
                      <a:pt x="20" y="412"/>
                    </a:lnTo>
                    <a:lnTo>
                      <a:pt x="24" y="399"/>
                    </a:lnTo>
                    <a:lnTo>
                      <a:pt x="44" y="387"/>
                    </a:lnTo>
                    <a:lnTo>
                      <a:pt x="60" y="371"/>
                    </a:lnTo>
                    <a:lnTo>
                      <a:pt x="77" y="367"/>
                    </a:lnTo>
                    <a:lnTo>
                      <a:pt x="85" y="355"/>
                    </a:lnTo>
                    <a:lnTo>
                      <a:pt x="97" y="355"/>
                    </a:lnTo>
                    <a:lnTo>
                      <a:pt x="109" y="351"/>
                    </a:lnTo>
                    <a:lnTo>
                      <a:pt x="113" y="347"/>
                    </a:lnTo>
                    <a:lnTo>
                      <a:pt x="121" y="339"/>
                    </a:lnTo>
                    <a:lnTo>
                      <a:pt x="161" y="339"/>
                    </a:lnTo>
                    <a:lnTo>
                      <a:pt x="202" y="339"/>
                    </a:lnTo>
                    <a:lnTo>
                      <a:pt x="218" y="331"/>
                    </a:lnTo>
                    <a:lnTo>
                      <a:pt x="238" y="323"/>
                    </a:lnTo>
                    <a:lnTo>
                      <a:pt x="254" y="323"/>
                    </a:lnTo>
                    <a:lnTo>
                      <a:pt x="274" y="323"/>
                    </a:lnTo>
                    <a:lnTo>
                      <a:pt x="294" y="331"/>
                    </a:lnTo>
                    <a:lnTo>
                      <a:pt x="315" y="339"/>
                    </a:lnTo>
                    <a:lnTo>
                      <a:pt x="331" y="339"/>
                    </a:lnTo>
                    <a:lnTo>
                      <a:pt x="347" y="339"/>
                    </a:lnTo>
                    <a:lnTo>
                      <a:pt x="355" y="339"/>
                    </a:lnTo>
                    <a:lnTo>
                      <a:pt x="363" y="335"/>
                    </a:lnTo>
                    <a:lnTo>
                      <a:pt x="367" y="319"/>
                    </a:lnTo>
                    <a:lnTo>
                      <a:pt x="371" y="299"/>
                    </a:lnTo>
                    <a:lnTo>
                      <a:pt x="383" y="295"/>
                    </a:lnTo>
                    <a:lnTo>
                      <a:pt x="395" y="290"/>
                    </a:lnTo>
                    <a:lnTo>
                      <a:pt x="399" y="278"/>
                    </a:lnTo>
                    <a:lnTo>
                      <a:pt x="403" y="242"/>
                    </a:lnTo>
                    <a:lnTo>
                      <a:pt x="415" y="230"/>
                    </a:lnTo>
                    <a:lnTo>
                      <a:pt x="424" y="218"/>
                    </a:lnTo>
                    <a:lnTo>
                      <a:pt x="428" y="194"/>
                    </a:lnTo>
                    <a:lnTo>
                      <a:pt x="428" y="157"/>
                    </a:lnTo>
                    <a:lnTo>
                      <a:pt x="424" y="153"/>
                    </a:lnTo>
                    <a:lnTo>
                      <a:pt x="424" y="149"/>
                    </a:lnTo>
                    <a:lnTo>
                      <a:pt x="415" y="137"/>
                    </a:lnTo>
                    <a:lnTo>
                      <a:pt x="403" y="133"/>
                    </a:lnTo>
                    <a:lnTo>
                      <a:pt x="399" y="133"/>
                    </a:lnTo>
                    <a:lnTo>
                      <a:pt x="399" y="125"/>
                    </a:lnTo>
                    <a:lnTo>
                      <a:pt x="383" y="113"/>
                    </a:lnTo>
                    <a:lnTo>
                      <a:pt x="371" y="101"/>
                    </a:lnTo>
                    <a:lnTo>
                      <a:pt x="371" y="89"/>
                    </a:lnTo>
                    <a:lnTo>
                      <a:pt x="371" y="81"/>
                    </a:lnTo>
                    <a:lnTo>
                      <a:pt x="383" y="77"/>
                    </a:lnTo>
                    <a:lnTo>
                      <a:pt x="399" y="69"/>
                    </a:lnTo>
                    <a:lnTo>
                      <a:pt x="403" y="52"/>
                    </a:lnTo>
                    <a:lnTo>
                      <a:pt x="403" y="44"/>
                    </a:lnTo>
                    <a:lnTo>
                      <a:pt x="415" y="36"/>
                    </a:lnTo>
                    <a:lnTo>
                      <a:pt x="424" y="20"/>
                    </a:lnTo>
                    <a:lnTo>
                      <a:pt x="424" y="12"/>
                    </a:lnTo>
                    <a:lnTo>
                      <a:pt x="424" y="0"/>
                    </a:lnTo>
                    <a:lnTo>
                      <a:pt x="436" y="0"/>
                    </a:lnTo>
                    <a:lnTo>
                      <a:pt x="452" y="0"/>
                    </a:lnTo>
                    <a:lnTo>
                      <a:pt x="452" y="16"/>
                    </a:lnTo>
                    <a:lnTo>
                      <a:pt x="456" y="28"/>
                    </a:lnTo>
                    <a:lnTo>
                      <a:pt x="492" y="28"/>
                    </a:lnTo>
                    <a:lnTo>
                      <a:pt x="528" y="28"/>
                    </a:lnTo>
                    <a:lnTo>
                      <a:pt x="565" y="28"/>
                    </a:lnTo>
                    <a:lnTo>
                      <a:pt x="601" y="24"/>
                    </a:lnTo>
                    <a:lnTo>
                      <a:pt x="637" y="65"/>
                    </a:lnTo>
                    <a:lnTo>
                      <a:pt x="670" y="85"/>
                    </a:lnTo>
                    <a:lnTo>
                      <a:pt x="674" y="101"/>
                    </a:lnTo>
                    <a:lnTo>
                      <a:pt x="678" y="121"/>
                    </a:lnTo>
                    <a:lnTo>
                      <a:pt x="686" y="133"/>
                    </a:lnTo>
                    <a:lnTo>
                      <a:pt x="702" y="133"/>
                    </a:lnTo>
                    <a:lnTo>
                      <a:pt x="706" y="137"/>
                    </a:lnTo>
                    <a:lnTo>
                      <a:pt x="706" y="149"/>
                    </a:lnTo>
                    <a:lnTo>
                      <a:pt x="726" y="149"/>
                    </a:lnTo>
                    <a:lnTo>
                      <a:pt x="738" y="145"/>
                    </a:lnTo>
                    <a:lnTo>
                      <a:pt x="742" y="133"/>
                    </a:lnTo>
                    <a:lnTo>
                      <a:pt x="750" y="125"/>
                    </a:lnTo>
                    <a:lnTo>
                      <a:pt x="766" y="125"/>
                    </a:lnTo>
                    <a:lnTo>
                      <a:pt x="783" y="121"/>
                    </a:lnTo>
                    <a:lnTo>
                      <a:pt x="795" y="125"/>
                    </a:lnTo>
                    <a:lnTo>
                      <a:pt x="803" y="133"/>
                    </a:lnTo>
                    <a:lnTo>
                      <a:pt x="827" y="133"/>
                    </a:lnTo>
                    <a:lnTo>
                      <a:pt x="851" y="137"/>
                    </a:lnTo>
                    <a:lnTo>
                      <a:pt x="855" y="137"/>
                    </a:lnTo>
                    <a:lnTo>
                      <a:pt x="859" y="145"/>
                    </a:lnTo>
                    <a:lnTo>
                      <a:pt x="871" y="153"/>
                    </a:lnTo>
                    <a:lnTo>
                      <a:pt x="875" y="169"/>
                    </a:lnTo>
                    <a:lnTo>
                      <a:pt x="883" y="169"/>
                    </a:lnTo>
                    <a:lnTo>
                      <a:pt x="891" y="169"/>
                    </a:lnTo>
                    <a:lnTo>
                      <a:pt x="896" y="173"/>
                    </a:lnTo>
                    <a:lnTo>
                      <a:pt x="908" y="186"/>
                    </a:lnTo>
                    <a:lnTo>
                      <a:pt x="908" y="198"/>
                    </a:lnTo>
                    <a:lnTo>
                      <a:pt x="912" y="210"/>
                    </a:lnTo>
                    <a:lnTo>
                      <a:pt x="912" y="226"/>
                    </a:lnTo>
                    <a:lnTo>
                      <a:pt x="912" y="242"/>
                    </a:lnTo>
                    <a:lnTo>
                      <a:pt x="908" y="250"/>
                    </a:lnTo>
                    <a:lnTo>
                      <a:pt x="908" y="254"/>
                    </a:lnTo>
                    <a:lnTo>
                      <a:pt x="891" y="254"/>
                    </a:lnTo>
                    <a:lnTo>
                      <a:pt x="883" y="254"/>
                    </a:lnTo>
                    <a:lnTo>
                      <a:pt x="875" y="250"/>
                    </a:lnTo>
                    <a:lnTo>
                      <a:pt x="867" y="246"/>
                    </a:lnTo>
                    <a:lnTo>
                      <a:pt x="851" y="246"/>
                    </a:lnTo>
                    <a:lnTo>
                      <a:pt x="843" y="246"/>
                    </a:lnTo>
                    <a:lnTo>
                      <a:pt x="843" y="270"/>
                    </a:lnTo>
                    <a:lnTo>
                      <a:pt x="835" y="295"/>
                    </a:lnTo>
                    <a:lnTo>
                      <a:pt x="843" y="303"/>
                    </a:lnTo>
                    <a:lnTo>
                      <a:pt x="851" y="315"/>
                    </a:lnTo>
                    <a:lnTo>
                      <a:pt x="867" y="315"/>
                    </a:lnTo>
                    <a:lnTo>
                      <a:pt x="875" y="315"/>
                    </a:lnTo>
                    <a:lnTo>
                      <a:pt x="883" y="323"/>
                    </a:lnTo>
                    <a:lnTo>
                      <a:pt x="891" y="331"/>
                    </a:lnTo>
                    <a:lnTo>
                      <a:pt x="883" y="347"/>
                    </a:lnTo>
                    <a:lnTo>
                      <a:pt x="871" y="367"/>
                    </a:lnTo>
                    <a:lnTo>
                      <a:pt x="871" y="387"/>
                    </a:lnTo>
                    <a:lnTo>
                      <a:pt x="867" y="412"/>
                    </a:lnTo>
                    <a:lnTo>
                      <a:pt x="855" y="416"/>
                    </a:lnTo>
                    <a:lnTo>
                      <a:pt x="843" y="420"/>
                    </a:lnTo>
                    <a:lnTo>
                      <a:pt x="803" y="424"/>
                    </a:lnTo>
                    <a:lnTo>
                      <a:pt x="779" y="428"/>
                    </a:lnTo>
                    <a:lnTo>
                      <a:pt x="750" y="448"/>
                    </a:lnTo>
                    <a:lnTo>
                      <a:pt x="726" y="468"/>
                    </a:lnTo>
                    <a:lnTo>
                      <a:pt x="714" y="472"/>
                    </a:lnTo>
                    <a:lnTo>
                      <a:pt x="678" y="476"/>
                    </a:lnTo>
                    <a:lnTo>
                      <a:pt x="666" y="484"/>
                    </a:lnTo>
                    <a:lnTo>
                      <a:pt x="653" y="492"/>
                    </a:lnTo>
                    <a:lnTo>
                      <a:pt x="641" y="508"/>
                    </a:lnTo>
                    <a:lnTo>
                      <a:pt x="637" y="524"/>
                    </a:lnTo>
                    <a:lnTo>
                      <a:pt x="629" y="533"/>
                    </a:lnTo>
                    <a:lnTo>
                      <a:pt x="621" y="537"/>
                    </a:lnTo>
                    <a:lnTo>
                      <a:pt x="617" y="577"/>
                    </a:lnTo>
                    <a:lnTo>
                      <a:pt x="609" y="617"/>
                    </a:lnTo>
                    <a:lnTo>
                      <a:pt x="605" y="621"/>
                    </a:lnTo>
                    <a:lnTo>
                      <a:pt x="601" y="625"/>
                    </a:lnTo>
                    <a:lnTo>
                      <a:pt x="593" y="625"/>
                    </a:lnTo>
                    <a:lnTo>
                      <a:pt x="589" y="625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 sz="1300" b="1"/>
              </a:p>
            </p:txBody>
          </p:sp>
        </p:grpSp>
        <p:sp>
          <p:nvSpPr>
            <p:cNvPr id="148" name="Freeform 60"/>
            <p:cNvSpPr>
              <a:spLocks/>
            </p:cNvSpPr>
            <p:nvPr/>
          </p:nvSpPr>
          <p:spPr bwMode="auto">
            <a:xfrm>
              <a:off x="6846971" y="1300455"/>
              <a:ext cx="1217613" cy="1374940"/>
            </a:xfrm>
            <a:custGeom>
              <a:avLst/>
              <a:gdLst>
                <a:gd name="T0" fmla="*/ 2147483647 w 1355"/>
                <a:gd name="T1" fmla="*/ 2147483647 h 1545"/>
                <a:gd name="T2" fmla="*/ 2147483647 w 1355"/>
                <a:gd name="T3" fmla="*/ 2147483647 h 1545"/>
                <a:gd name="T4" fmla="*/ 2147483647 w 1355"/>
                <a:gd name="T5" fmla="*/ 2147483647 h 1545"/>
                <a:gd name="T6" fmla="*/ 2147483647 w 1355"/>
                <a:gd name="T7" fmla="*/ 2147483647 h 1545"/>
                <a:gd name="T8" fmla="*/ 2147483647 w 1355"/>
                <a:gd name="T9" fmla="*/ 2147483647 h 1545"/>
                <a:gd name="T10" fmla="*/ 2147483647 w 1355"/>
                <a:gd name="T11" fmla="*/ 2147483647 h 1545"/>
                <a:gd name="T12" fmla="*/ 2147483647 w 1355"/>
                <a:gd name="T13" fmla="*/ 2147483647 h 1545"/>
                <a:gd name="T14" fmla="*/ 2147483647 w 1355"/>
                <a:gd name="T15" fmla="*/ 2147483647 h 1545"/>
                <a:gd name="T16" fmla="*/ 2147483647 w 1355"/>
                <a:gd name="T17" fmla="*/ 2147483647 h 1545"/>
                <a:gd name="T18" fmla="*/ 2147483647 w 1355"/>
                <a:gd name="T19" fmla="*/ 2147483647 h 1545"/>
                <a:gd name="T20" fmla="*/ 2147483647 w 1355"/>
                <a:gd name="T21" fmla="*/ 2147483647 h 1545"/>
                <a:gd name="T22" fmla="*/ 2147483647 w 1355"/>
                <a:gd name="T23" fmla="*/ 2147483647 h 1545"/>
                <a:gd name="T24" fmla="*/ 2147483647 w 1355"/>
                <a:gd name="T25" fmla="*/ 2147483647 h 1545"/>
                <a:gd name="T26" fmla="*/ 2147483647 w 1355"/>
                <a:gd name="T27" fmla="*/ 2147483647 h 1545"/>
                <a:gd name="T28" fmla="*/ 2147483647 w 1355"/>
                <a:gd name="T29" fmla="*/ 2147483647 h 1545"/>
                <a:gd name="T30" fmla="*/ 2147483647 w 1355"/>
                <a:gd name="T31" fmla="*/ 2147483647 h 1545"/>
                <a:gd name="T32" fmla="*/ 2147483647 w 1355"/>
                <a:gd name="T33" fmla="*/ 2147483647 h 1545"/>
                <a:gd name="T34" fmla="*/ 2147483647 w 1355"/>
                <a:gd name="T35" fmla="*/ 2147483647 h 1545"/>
                <a:gd name="T36" fmla="*/ 0 w 1355"/>
                <a:gd name="T37" fmla="*/ 2147483647 h 1545"/>
                <a:gd name="T38" fmla="*/ 2147483647 w 1355"/>
                <a:gd name="T39" fmla="*/ 2147483647 h 1545"/>
                <a:gd name="T40" fmla="*/ 2147483647 w 1355"/>
                <a:gd name="T41" fmla="*/ 2147483647 h 1545"/>
                <a:gd name="T42" fmla="*/ 2147483647 w 1355"/>
                <a:gd name="T43" fmla="*/ 2147483647 h 1545"/>
                <a:gd name="T44" fmla="*/ 2147483647 w 1355"/>
                <a:gd name="T45" fmla="*/ 2147483647 h 1545"/>
                <a:gd name="T46" fmla="*/ 2147483647 w 1355"/>
                <a:gd name="T47" fmla="*/ 2147483647 h 1545"/>
                <a:gd name="T48" fmla="*/ 2147483647 w 1355"/>
                <a:gd name="T49" fmla="*/ 2147483647 h 1545"/>
                <a:gd name="T50" fmla="*/ 2147483647 w 1355"/>
                <a:gd name="T51" fmla="*/ 2147483647 h 1545"/>
                <a:gd name="T52" fmla="*/ 2147483647 w 1355"/>
                <a:gd name="T53" fmla="*/ 2147483647 h 1545"/>
                <a:gd name="T54" fmla="*/ 2147483647 w 1355"/>
                <a:gd name="T55" fmla="*/ 0 h 1545"/>
                <a:gd name="T56" fmla="*/ 2147483647 w 1355"/>
                <a:gd name="T57" fmla="*/ 2147483647 h 1545"/>
                <a:gd name="T58" fmla="*/ 2147483647 w 1355"/>
                <a:gd name="T59" fmla="*/ 2147483647 h 1545"/>
                <a:gd name="T60" fmla="*/ 2147483647 w 1355"/>
                <a:gd name="T61" fmla="*/ 2147483647 h 1545"/>
                <a:gd name="T62" fmla="*/ 2147483647 w 1355"/>
                <a:gd name="T63" fmla="*/ 2147483647 h 1545"/>
                <a:gd name="T64" fmla="*/ 2147483647 w 1355"/>
                <a:gd name="T65" fmla="*/ 2147483647 h 1545"/>
                <a:gd name="T66" fmla="*/ 2147483647 w 1355"/>
                <a:gd name="T67" fmla="*/ 2147483647 h 1545"/>
                <a:gd name="T68" fmla="*/ 2147483647 w 1355"/>
                <a:gd name="T69" fmla="*/ 2147483647 h 1545"/>
                <a:gd name="T70" fmla="*/ 2147483647 w 1355"/>
                <a:gd name="T71" fmla="*/ 2147483647 h 1545"/>
                <a:gd name="T72" fmla="*/ 2147483647 w 1355"/>
                <a:gd name="T73" fmla="*/ 2147483647 h 1545"/>
                <a:gd name="T74" fmla="*/ 2147483647 w 1355"/>
                <a:gd name="T75" fmla="*/ 2147483647 h 1545"/>
                <a:gd name="T76" fmla="*/ 2147483647 w 1355"/>
                <a:gd name="T77" fmla="*/ 2147483647 h 1545"/>
                <a:gd name="T78" fmla="*/ 2147483647 w 1355"/>
                <a:gd name="T79" fmla="*/ 2147483647 h 1545"/>
                <a:gd name="T80" fmla="*/ 2147483647 w 1355"/>
                <a:gd name="T81" fmla="*/ 2147483647 h 1545"/>
                <a:gd name="T82" fmla="*/ 2147483647 w 1355"/>
                <a:gd name="T83" fmla="*/ 2147483647 h 1545"/>
                <a:gd name="T84" fmla="*/ 2147483647 w 1355"/>
                <a:gd name="T85" fmla="*/ 2147483647 h 1545"/>
                <a:gd name="T86" fmla="*/ 2147483647 w 1355"/>
                <a:gd name="T87" fmla="*/ 2147483647 h 1545"/>
                <a:gd name="T88" fmla="*/ 2147483647 w 1355"/>
                <a:gd name="T89" fmla="*/ 2147483647 h 1545"/>
                <a:gd name="T90" fmla="*/ 2147483647 w 1355"/>
                <a:gd name="T91" fmla="*/ 2147483647 h 1545"/>
                <a:gd name="T92" fmla="*/ 2147483647 w 1355"/>
                <a:gd name="T93" fmla="*/ 2147483647 h 1545"/>
                <a:gd name="T94" fmla="*/ 2147483647 w 1355"/>
                <a:gd name="T95" fmla="*/ 2147483647 h 1545"/>
                <a:gd name="T96" fmla="*/ 2147483647 w 1355"/>
                <a:gd name="T97" fmla="*/ 2147483647 h 1545"/>
                <a:gd name="T98" fmla="*/ 2147483647 w 1355"/>
                <a:gd name="T99" fmla="*/ 2147483647 h 1545"/>
                <a:gd name="T100" fmla="*/ 2147483647 w 1355"/>
                <a:gd name="T101" fmla="*/ 2147483647 h 1545"/>
                <a:gd name="T102" fmla="*/ 2147483647 w 1355"/>
                <a:gd name="T103" fmla="*/ 2147483647 h 1545"/>
                <a:gd name="T104" fmla="*/ 2147483647 w 1355"/>
                <a:gd name="T105" fmla="*/ 2147483647 h 1545"/>
                <a:gd name="T106" fmla="*/ 2147483647 w 1355"/>
                <a:gd name="T107" fmla="*/ 2147483647 h 1545"/>
                <a:gd name="T108" fmla="*/ 2147483647 w 1355"/>
                <a:gd name="T109" fmla="*/ 2147483647 h 1545"/>
                <a:gd name="T110" fmla="*/ 2147483647 w 1355"/>
                <a:gd name="T111" fmla="*/ 2147483647 h 1545"/>
                <a:gd name="T112" fmla="*/ 2147483647 w 1355"/>
                <a:gd name="T113" fmla="*/ 2147483647 h 1545"/>
                <a:gd name="T114" fmla="*/ 2147483647 w 1355"/>
                <a:gd name="T115" fmla="*/ 2147483647 h 1545"/>
                <a:gd name="T116" fmla="*/ 2147483647 w 1355"/>
                <a:gd name="T117" fmla="*/ 2147483647 h 1545"/>
                <a:gd name="T118" fmla="*/ 2147483647 w 1355"/>
                <a:gd name="T119" fmla="*/ 2147483647 h 1545"/>
                <a:gd name="T120" fmla="*/ 2147483647 w 1355"/>
                <a:gd name="T121" fmla="*/ 2147483647 h 154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55"/>
                <a:gd name="T184" fmla="*/ 0 h 1545"/>
                <a:gd name="T185" fmla="*/ 1355 w 1355"/>
                <a:gd name="T186" fmla="*/ 1545 h 154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55" h="1545">
                  <a:moveTo>
                    <a:pt x="888" y="1545"/>
                  </a:moveTo>
                  <a:lnTo>
                    <a:pt x="871" y="1541"/>
                  </a:lnTo>
                  <a:lnTo>
                    <a:pt x="819" y="1533"/>
                  </a:lnTo>
                  <a:lnTo>
                    <a:pt x="815" y="1529"/>
                  </a:lnTo>
                  <a:lnTo>
                    <a:pt x="799" y="1525"/>
                  </a:lnTo>
                  <a:lnTo>
                    <a:pt x="779" y="1525"/>
                  </a:lnTo>
                  <a:lnTo>
                    <a:pt x="775" y="1521"/>
                  </a:lnTo>
                  <a:lnTo>
                    <a:pt x="767" y="1517"/>
                  </a:lnTo>
                  <a:lnTo>
                    <a:pt x="762" y="1513"/>
                  </a:lnTo>
                  <a:lnTo>
                    <a:pt x="758" y="1509"/>
                  </a:lnTo>
                  <a:lnTo>
                    <a:pt x="734" y="1492"/>
                  </a:lnTo>
                  <a:lnTo>
                    <a:pt x="690" y="1464"/>
                  </a:lnTo>
                  <a:lnTo>
                    <a:pt x="666" y="1464"/>
                  </a:lnTo>
                  <a:lnTo>
                    <a:pt x="637" y="1464"/>
                  </a:lnTo>
                  <a:lnTo>
                    <a:pt x="629" y="1448"/>
                  </a:lnTo>
                  <a:lnTo>
                    <a:pt x="613" y="1436"/>
                  </a:lnTo>
                  <a:lnTo>
                    <a:pt x="609" y="1436"/>
                  </a:lnTo>
                  <a:lnTo>
                    <a:pt x="601" y="1436"/>
                  </a:lnTo>
                  <a:lnTo>
                    <a:pt x="601" y="1428"/>
                  </a:lnTo>
                  <a:lnTo>
                    <a:pt x="593" y="1428"/>
                  </a:lnTo>
                  <a:lnTo>
                    <a:pt x="585" y="1424"/>
                  </a:lnTo>
                  <a:lnTo>
                    <a:pt x="577" y="1424"/>
                  </a:lnTo>
                  <a:lnTo>
                    <a:pt x="577" y="1412"/>
                  </a:lnTo>
                  <a:lnTo>
                    <a:pt x="577" y="1400"/>
                  </a:lnTo>
                  <a:lnTo>
                    <a:pt x="569" y="1392"/>
                  </a:lnTo>
                  <a:lnTo>
                    <a:pt x="561" y="1375"/>
                  </a:lnTo>
                  <a:lnTo>
                    <a:pt x="520" y="1375"/>
                  </a:lnTo>
                  <a:lnTo>
                    <a:pt x="488" y="1375"/>
                  </a:lnTo>
                  <a:lnTo>
                    <a:pt x="448" y="1375"/>
                  </a:lnTo>
                  <a:lnTo>
                    <a:pt x="412" y="1375"/>
                  </a:lnTo>
                  <a:lnTo>
                    <a:pt x="403" y="1375"/>
                  </a:lnTo>
                  <a:lnTo>
                    <a:pt x="391" y="1367"/>
                  </a:lnTo>
                  <a:lnTo>
                    <a:pt x="383" y="1355"/>
                  </a:lnTo>
                  <a:lnTo>
                    <a:pt x="371" y="1343"/>
                  </a:lnTo>
                  <a:lnTo>
                    <a:pt x="347" y="1335"/>
                  </a:lnTo>
                  <a:lnTo>
                    <a:pt x="323" y="1331"/>
                  </a:lnTo>
                  <a:lnTo>
                    <a:pt x="323" y="1315"/>
                  </a:lnTo>
                  <a:lnTo>
                    <a:pt x="323" y="1295"/>
                  </a:lnTo>
                  <a:lnTo>
                    <a:pt x="327" y="1291"/>
                  </a:lnTo>
                  <a:lnTo>
                    <a:pt x="327" y="1287"/>
                  </a:lnTo>
                  <a:lnTo>
                    <a:pt x="335" y="1287"/>
                  </a:lnTo>
                  <a:lnTo>
                    <a:pt x="351" y="1283"/>
                  </a:lnTo>
                  <a:lnTo>
                    <a:pt x="355" y="1275"/>
                  </a:lnTo>
                  <a:lnTo>
                    <a:pt x="367" y="1266"/>
                  </a:lnTo>
                  <a:lnTo>
                    <a:pt x="391" y="1250"/>
                  </a:lnTo>
                  <a:lnTo>
                    <a:pt x="403" y="1242"/>
                  </a:lnTo>
                  <a:lnTo>
                    <a:pt x="412" y="1238"/>
                  </a:lnTo>
                  <a:lnTo>
                    <a:pt x="420" y="1238"/>
                  </a:lnTo>
                  <a:lnTo>
                    <a:pt x="432" y="1230"/>
                  </a:lnTo>
                  <a:lnTo>
                    <a:pt x="440" y="1222"/>
                  </a:lnTo>
                  <a:lnTo>
                    <a:pt x="480" y="1198"/>
                  </a:lnTo>
                  <a:lnTo>
                    <a:pt x="516" y="1178"/>
                  </a:lnTo>
                  <a:lnTo>
                    <a:pt x="524" y="1158"/>
                  </a:lnTo>
                  <a:lnTo>
                    <a:pt x="541" y="1141"/>
                  </a:lnTo>
                  <a:lnTo>
                    <a:pt x="541" y="1125"/>
                  </a:lnTo>
                  <a:lnTo>
                    <a:pt x="541" y="1113"/>
                  </a:lnTo>
                  <a:lnTo>
                    <a:pt x="533" y="1109"/>
                  </a:lnTo>
                  <a:lnTo>
                    <a:pt x="529" y="1105"/>
                  </a:lnTo>
                  <a:lnTo>
                    <a:pt x="512" y="1105"/>
                  </a:lnTo>
                  <a:lnTo>
                    <a:pt x="496" y="1105"/>
                  </a:lnTo>
                  <a:lnTo>
                    <a:pt x="472" y="1121"/>
                  </a:lnTo>
                  <a:lnTo>
                    <a:pt x="444" y="1133"/>
                  </a:lnTo>
                  <a:lnTo>
                    <a:pt x="440" y="1141"/>
                  </a:lnTo>
                  <a:lnTo>
                    <a:pt x="432" y="1149"/>
                  </a:lnTo>
                  <a:lnTo>
                    <a:pt x="407" y="1162"/>
                  </a:lnTo>
                  <a:lnTo>
                    <a:pt x="383" y="1178"/>
                  </a:lnTo>
                  <a:lnTo>
                    <a:pt x="379" y="1182"/>
                  </a:lnTo>
                  <a:lnTo>
                    <a:pt x="351" y="1190"/>
                  </a:lnTo>
                  <a:lnTo>
                    <a:pt x="331" y="1194"/>
                  </a:lnTo>
                  <a:lnTo>
                    <a:pt x="315" y="1198"/>
                  </a:lnTo>
                  <a:lnTo>
                    <a:pt x="295" y="1210"/>
                  </a:lnTo>
                  <a:lnTo>
                    <a:pt x="274" y="1222"/>
                  </a:lnTo>
                  <a:lnTo>
                    <a:pt x="266" y="1222"/>
                  </a:lnTo>
                  <a:lnTo>
                    <a:pt x="262" y="1222"/>
                  </a:lnTo>
                  <a:lnTo>
                    <a:pt x="258" y="1186"/>
                  </a:lnTo>
                  <a:lnTo>
                    <a:pt x="246" y="1145"/>
                  </a:lnTo>
                  <a:lnTo>
                    <a:pt x="246" y="1121"/>
                  </a:lnTo>
                  <a:lnTo>
                    <a:pt x="246" y="1105"/>
                  </a:lnTo>
                  <a:lnTo>
                    <a:pt x="258" y="1093"/>
                  </a:lnTo>
                  <a:lnTo>
                    <a:pt x="262" y="1077"/>
                  </a:lnTo>
                  <a:lnTo>
                    <a:pt x="262" y="1069"/>
                  </a:lnTo>
                  <a:lnTo>
                    <a:pt x="262" y="1061"/>
                  </a:lnTo>
                  <a:lnTo>
                    <a:pt x="258" y="1057"/>
                  </a:lnTo>
                  <a:lnTo>
                    <a:pt x="254" y="1049"/>
                  </a:lnTo>
                  <a:lnTo>
                    <a:pt x="238" y="1045"/>
                  </a:lnTo>
                  <a:lnTo>
                    <a:pt x="222" y="1045"/>
                  </a:lnTo>
                  <a:lnTo>
                    <a:pt x="214" y="1036"/>
                  </a:lnTo>
                  <a:lnTo>
                    <a:pt x="210" y="1028"/>
                  </a:lnTo>
                  <a:lnTo>
                    <a:pt x="206" y="1012"/>
                  </a:lnTo>
                  <a:lnTo>
                    <a:pt x="198" y="992"/>
                  </a:lnTo>
                  <a:lnTo>
                    <a:pt x="182" y="968"/>
                  </a:lnTo>
                  <a:lnTo>
                    <a:pt x="173" y="960"/>
                  </a:lnTo>
                  <a:lnTo>
                    <a:pt x="173" y="944"/>
                  </a:lnTo>
                  <a:lnTo>
                    <a:pt x="173" y="940"/>
                  </a:lnTo>
                  <a:lnTo>
                    <a:pt x="190" y="940"/>
                  </a:lnTo>
                  <a:lnTo>
                    <a:pt x="206" y="944"/>
                  </a:lnTo>
                  <a:lnTo>
                    <a:pt x="214" y="952"/>
                  </a:lnTo>
                  <a:lnTo>
                    <a:pt x="234" y="968"/>
                  </a:lnTo>
                  <a:lnTo>
                    <a:pt x="238" y="980"/>
                  </a:lnTo>
                  <a:lnTo>
                    <a:pt x="242" y="992"/>
                  </a:lnTo>
                  <a:lnTo>
                    <a:pt x="266" y="1016"/>
                  </a:lnTo>
                  <a:lnTo>
                    <a:pt x="290" y="1032"/>
                  </a:lnTo>
                  <a:lnTo>
                    <a:pt x="295" y="1032"/>
                  </a:lnTo>
                  <a:lnTo>
                    <a:pt x="299" y="1036"/>
                  </a:lnTo>
                  <a:lnTo>
                    <a:pt x="311" y="1045"/>
                  </a:lnTo>
                  <a:lnTo>
                    <a:pt x="323" y="1061"/>
                  </a:lnTo>
                  <a:lnTo>
                    <a:pt x="347" y="1069"/>
                  </a:lnTo>
                  <a:lnTo>
                    <a:pt x="363" y="1077"/>
                  </a:lnTo>
                  <a:lnTo>
                    <a:pt x="375" y="1077"/>
                  </a:lnTo>
                  <a:lnTo>
                    <a:pt x="383" y="1077"/>
                  </a:lnTo>
                  <a:lnTo>
                    <a:pt x="391" y="1073"/>
                  </a:lnTo>
                  <a:lnTo>
                    <a:pt x="399" y="1069"/>
                  </a:lnTo>
                  <a:lnTo>
                    <a:pt x="403" y="1061"/>
                  </a:lnTo>
                  <a:lnTo>
                    <a:pt x="412" y="1049"/>
                  </a:lnTo>
                  <a:lnTo>
                    <a:pt x="420" y="1045"/>
                  </a:lnTo>
                  <a:lnTo>
                    <a:pt x="432" y="1036"/>
                  </a:lnTo>
                  <a:lnTo>
                    <a:pt x="440" y="1028"/>
                  </a:lnTo>
                  <a:lnTo>
                    <a:pt x="444" y="1020"/>
                  </a:lnTo>
                  <a:lnTo>
                    <a:pt x="444" y="1016"/>
                  </a:lnTo>
                  <a:lnTo>
                    <a:pt x="440" y="992"/>
                  </a:lnTo>
                  <a:lnTo>
                    <a:pt x="428" y="984"/>
                  </a:lnTo>
                  <a:lnTo>
                    <a:pt x="412" y="972"/>
                  </a:lnTo>
                  <a:lnTo>
                    <a:pt x="412" y="968"/>
                  </a:lnTo>
                  <a:lnTo>
                    <a:pt x="412" y="960"/>
                  </a:lnTo>
                  <a:lnTo>
                    <a:pt x="416" y="952"/>
                  </a:lnTo>
                  <a:lnTo>
                    <a:pt x="420" y="948"/>
                  </a:lnTo>
                  <a:lnTo>
                    <a:pt x="432" y="940"/>
                  </a:lnTo>
                  <a:lnTo>
                    <a:pt x="440" y="928"/>
                  </a:lnTo>
                  <a:lnTo>
                    <a:pt x="444" y="903"/>
                  </a:lnTo>
                  <a:lnTo>
                    <a:pt x="448" y="891"/>
                  </a:lnTo>
                  <a:lnTo>
                    <a:pt x="444" y="887"/>
                  </a:lnTo>
                  <a:lnTo>
                    <a:pt x="440" y="879"/>
                  </a:lnTo>
                  <a:lnTo>
                    <a:pt x="436" y="875"/>
                  </a:lnTo>
                  <a:lnTo>
                    <a:pt x="432" y="867"/>
                  </a:lnTo>
                  <a:lnTo>
                    <a:pt x="399" y="867"/>
                  </a:lnTo>
                  <a:lnTo>
                    <a:pt x="367" y="863"/>
                  </a:lnTo>
                  <a:lnTo>
                    <a:pt x="367" y="851"/>
                  </a:lnTo>
                  <a:lnTo>
                    <a:pt x="371" y="831"/>
                  </a:lnTo>
                  <a:lnTo>
                    <a:pt x="367" y="827"/>
                  </a:lnTo>
                  <a:lnTo>
                    <a:pt x="363" y="819"/>
                  </a:lnTo>
                  <a:lnTo>
                    <a:pt x="347" y="811"/>
                  </a:lnTo>
                  <a:lnTo>
                    <a:pt x="335" y="802"/>
                  </a:lnTo>
                  <a:lnTo>
                    <a:pt x="323" y="794"/>
                  </a:lnTo>
                  <a:lnTo>
                    <a:pt x="311" y="790"/>
                  </a:lnTo>
                  <a:lnTo>
                    <a:pt x="295" y="774"/>
                  </a:lnTo>
                  <a:lnTo>
                    <a:pt x="286" y="762"/>
                  </a:lnTo>
                  <a:lnTo>
                    <a:pt x="266" y="746"/>
                  </a:lnTo>
                  <a:lnTo>
                    <a:pt x="254" y="734"/>
                  </a:lnTo>
                  <a:lnTo>
                    <a:pt x="234" y="730"/>
                  </a:lnTo>
                  <a:lnTo>
                    <a:pt x="218" y="730"/>
                  </a:lnTo>
                  <a:lnTo>
                    <a:pt x="214" y="734"/>
                  </a:lnTo>
                  <a:lnTo>
                    <a:pt x="210" y="738"/>
                  </a:lnTo>
                  <a:lnTo>
                    <a:pt x="186" y="738"/>
                  </a:lnTo>
                  <a:lnTo>
                    <a:pt x="173" y="742"/>
                  </a:lnTo>
                  <a:lnTo>
                    <a:pt x="161" y="734"/>
                  </a:lnTo>
                  <a:lnTo>
                    <a:pt x="145" y="726"/>
                  </a:lnTo>
                  <a:lnTo>
                    <a:pt x="121" y="726"/>
                  </a:lnTo>
                  <a:lnTo>
                    <a:pt x="93" y="726"/>
                  </a:lnTo>
                  <a:lnTo>
                    <a:pt x="81" y="734"/>
                  </a:lnTo>
                  <a:lnTo>
                    <a:pt x="73" y="738"/>
                  </a:lnTo>
                  <a:lnTo>
                    <a:pt x="65" y="746"/>
                  </a:lnTo>
                  <a:lnTo>
                    <a:pt x="57" y="762"/>
                  </a:lnTo>
                  <a:lnTo>
                    <a:pt x="44" y="770"/>
                  </a:lnTo>
                  <a:lnTo>
                    <a:pt x="36" y="778"/>
                  </a:lnTo>
                  <a:lnTo>
                    <a:pt x="24" y="778"/>
                  </a:lnTo>
                  <a:lnTo>
                    <a:pt x="16" y="778"/>
                  </a:lnTo>
                  <a:lnTo>
                    <a:pt x="16" y="774"/>
                  </a:lnTo>
                  <a:lnTo>
                    <a:pt x="12" y="770"/>
                  </a:lnTo>
                  <a:lnTo>
                    <a:pt x="8" y="762"/>
                  </a:lnTo>
                  <a:lnTo>
                    <a:pt x="0" y="754"/>
                  </a:lnTo>
                  <a:lnTo>
                    <a:pt x="0" y="742"/>
                  </a:lnTo>
                  <a:lnTo>
                    <a:pt x="0" y="730"/>
                  </a:lnTo>
                  <a:lnTo>
                    <a:pt x="8" y="726"/>
                  </a:lnTo>
                  <a:lnTo>
                    <a:pt x="12" y="714"/>
                  </a:lnTo>
                  <a:lnTo>
                    <a:pt x="16" y="694"/>
                  </a:lnTo>
                  <a:lnTo>
                    <a:pt x="24" y="694"/>
                  </a:lnTo>
                  <a:lnTo>
                    <a:pt x="36" y="690"/>
                  </a:lnTo>
                  <a:lnTo>
                    <a:pt x="36" y="681"/>
                  </a:lnTo>
                  <a:lnTo>
                    <a:pt x="40" y="669"/>
                  </a:lnTo>
                  <a:lnTo>
                    <a:pt x="40" y="649"/>
                  </a:lnTo>
                  <a:lnTo>
                    <a:pt x="44" y="629"/>
                  </a:lnTo>
                  <a:lnTo>
                    <a:pt x="48" y="629"/>
                  </a:lnTo>
                  <a:lnTo>
                    <a:pt x="57" y="633"/>
                  </a:lnTo>
                  <a:lnTo>
                    <a:pt x="65" y="637"/>
                  </a:lnTo>
                  <a:lnTo>
                    <a:pt x="77" y="645"/>
                  </a:lnTo>
                  <a:lnTo>
                    <a:pt x="89" y="645"/>
                  </a:lnTo>
                  <a:lnTo>
                    <a:pt x="101" y="645"/>
                  </a:lnTo>
                  <a:lnTo>
                    <a:pt x="117" y="637"/>
                  </a:lnTo>
                  <a:lnTo>
                    <a:pt x="129" y="629"/>
                  </a:lnTo>
                  <a:lnTo>
                    <a:pt x="129" y="609"/>
                  </a:lnTo>
                  <a:lnTo>
                    <a:pt x="129" y="597"/>
                  </a:lnTo>
                  <a:lnTo>
                    <a:pt x="141" y="573"/>
                  </a:lnTo>
                  <a:lnTo>
                    <a:pt x="153" y="548"/>
                  </a:lnTo>
                  <a:lnTo>
                    <a:pt x="161" y="536"/>
                  </a:lnTo>
                  <a:lnTo>
                    <a:pt x="173" y="524"/>
                  </a:lnTo>
                  <a:lnTo>
                    <a:pt x="206" y="488"/>
                  </a:lnTo>
                  <a:lnTo>
                    <a:pt x="218" y="472"/>
                  </a:lnTo>
                  <a:lnTo>
                    <a:pt x="234" y="468"/>
                  </a:lnTo>
                  <a:lnTo>
                    <a:pt x="254" y="464"/>
                  </a:lnTo>
                  <a:lnTo>
                    <a:pt x="258" y="451"/>
                  </a:lnTo>
                  <a:lnTo>
                    <a:pt x="266" y="443"/>
                  </a:lnTo>
                  <a:lnTo>
                    <a:pt x="266" y="431"/>
                  </a:lnTo>
                  <a:lnTo>
                    <a:pt x="270" y="419"/>
                  </a:lnTo>
                  <a:lnTo>
                    <a:pt x="266" y="415"/>
                  </a:lnTo>
                  <a:lnTo>
                    <a:pt x="266" y="411"/>
                  </a:lnTo>
                  <a:lnTo>
                    <a:pt x="266" y="399"/>
                  </a:lnTo>
                  <a:lnTo>
                    <a:pt x="270" y="399"/>
                  </a:lnTo>
                  <a:lnTo>
                    <a:pt x="274" y="395"/>
                  </a:lnTo>
                  <a:lnTo>
                    <a:pt x="274" y="383"/>
                  </a:lnTo>
                  <a:lnTo>
                    <a:pt x="286" y="379"/>
                  </a:lnTo>
                  <a:lnTo>
                    <a:pt x="303" y="375"/>
                  </a:lnTo>
                  <a:lnTo>
                    <a:pt x="323" y="375"/>
                  </a:lnTo>
                  <a:lnTo>
                    <a:pt x="331" y="379"/>
                  </a:lnTo>
                  <a:lnTo>
                    <a:pt x="347" y="387"/>
                  </a:lnTo>
                  <a:lnTo>
                    <a:pt x="351" y="387"/>
                  </a:lnTo>
                  <a:lnTo>
                    <a:pt x="363" y="387"/>
                  </a:lnTo>
                  <a:lnTo>
                    <a:pt x="367" y="383"/>
                  </a:lnTo>
                  <a:lnTo>
                    <a:pt x="371" y="379"/>
                  </a:lnTo>
                  <a:lnTo>
                    <a:pt x="387" y="371"/>
                  </a:lnTo>
                  <a:lnTo>
                    <a:pt x="412" y="359"/>
                  </a:lnTo>
                  <a:lnTo>
                    <a:pt x="416" y="355"/>
                  </a:lnTo>
                  <a:lnTo>
                    <a:pt x="428" y="347"/>
                  </a:lnTo>
                  <a:lnTo>
                    <a:pt x="456" y="343"/>
                  </a:lnTo>
                  <a:lnTo>
                    <a:pt x="468" y="334"/>
                  </a:lnTo>
                  <a:lnTo>
                    <a:pt x="472" y="330"/>
                  </a:lnTo>
                  <a:lnTo>
                    <a:pt x="484" y="318"/>
                  </a:lnTo>
                  <a:lnTo>
                    <a:pt x="488" y="298"/>
                  </a:lnTo>
                  <a:lnTo>
                    <a:pt x="492" y="294"/>
                  </a:lnTo>
                  <a:lnTo>
                    <a:pt x="504" y="258"/>
                  </a:lnTo>
                  <a:lnTo>
                    <a:pt x="512" y="222"/>
                  </a:lnTo>
                  <a:lnTo>
                    <a:pt x="516" y="217"/>
                  </a:lnTo>
                  <a:lnTo>
                    <a:pt x="516" y="197"/>
                  </a:lnTo>
                  <a:lnTo>
                    <a:pt x="516" y="177"/>
                  </a:lnTo>
                  <a:lnTo>
                    <a:pt x="508" y="169"/>
                  </a:lnTo>
                  <a:lnTo>
                    <a:pt x="492" y="153"/>
                  </a:lnTo>
                  <a:lnTo>
                    <a:pt x="484" y="145"/>
                  </a:lnTo>
                  <a:lnTo>
                    <a:pt x="468" y="141"/>
                  </a:lnTo>
                  <a:lnTo>
                    <a:pt x="456" y="137"/>
                  </a:lnTo>
                  <a:lnTo>
                    <a:pt x="440" y="133"/>
                  </a:lnTo>
                  <a:lnTo>
                    <a:pt x="440" y="129"/>
                  </a:lnTo>
                  <a:lnTo>
                    <a:pt x="440" y="117"/>
                  </a:lnTo>
                  <a:lnTo>
                    <a:pt x="464" y="105"/>
                  </a:lnTo>
                  <a:lnTo>
                    <a:pt x="472" y="100"/>
                  </a:lnTo>
                  <a:lnTo>
                    <a:pt x="480" y="88"/>
                  </a:lnTo>
                  <a:lnTo>
                    <a:pt x="484" y="76"/>
                  </a:lnTo>
                  <a:lnTo>
                    <a:pt x="484" y="44"/>
                  </a:lnTo>
                  <a:lnTo>
                    <a:pt x="484" y="8"/>
                  </a:lnTo>
                  <a:lnTo>
                    <a:pt x="488" y="4"/>
                  </a:lnTo>
                  <a:lnTo>
                    <a:pt x="492" y="0"/>
                  </a:lnTo>
                  <a:lnTo>
                    <a:pt x="561" y="0"/>
                  </a:lnTo>
                  <a:lnTo>
                    <a:pt x="625" y="0"/>
                  </a:lnTo>
                  <a:lnTo>
                    <a:pt x="641" y="0"/>
                  </a:lnTo>
                  <a:lnTo>
                    <a:pt x="658" y="4"/>
                  </a:lnTo>
                  <a:lnTo>
                    <a:pt x="666" y="8"/>
                  </a:lnTo>
                  <a:lnTo>
                    <a:pt x="674" y="12"/>
                  </a:lnTo>
                  <a:lnTo>
                    <a:pt x="682" y="28"/>
                  </a:lnTo>
                  <a:lnTo>
                    <a:pt x="686" y="32"/>
                  </a:lnTo>
                  <a:lnTo>
                    <a:pt x="690" y="40"/>
                  </a:lnTo>
                  <a:lnTo>
                    <a:pt x="694" y="44"/>
                  </a:lnTo>
                  <a:lnTo>
                    <a:pt x="718" y="44"/>
                  </a:lnTo>
                  <a:lnTo>
                    <a:pt x="742" y="44"/>
                  </a:lnTo>
                  <a:lnTo>
                    <a:pt x="742" y="32"/>
                  </a:lnTo>
                  <a:lnTo>
                    <a:pt x="746" y="28"/>
                  </a:lnTo>
                  <a:lnTo>
                    <a:pt x="758" y="16"/>
                  </a:lnTo>
                  <a:lnTo>
                    <a:pt x="762" y="4"/>
                  </a:lnTo>
                  <a:lnTo>
                    <a:pt x="775" y="4"/>
                  </a:lnTo>
                  <a:lnTo>
                    <a:pt x="791" y="4"/>
                  </a:lnTo>
                  <a:lnTo>
                    <a:pt x="795" y="8"/>
                  </a:lnTo>
                  <a:lnTo>
                    <a:pt x="799" y="8"/>
                  </a:lnTo>
                  <a:lnTo>
                    <a:pt x="799" y="28"/>
                  </a:lnTo>
                  <a:lnTo>
                    <a:pt x="799" y="56"/>
                  </a:lnTo>
                  <a:lnTo>
                    <a:pt x="787" y="64"/>
                  </a:lnTo>
                  <a:lnTo>
                    <a:pt x="742" y="84"/>
                  </a:lnTo>
                  <a:lnTo>
                    <a:pt x="738" y="88"/>
                  </a:lnTo>
                  <a:lnTo>
                    <a:pt x="734" y="96"/>
                  </a:lnTo>
                  <a:lnTo>
                    <a:pt x="726" y="165"/>
                  </a:lnTo>
                  <a:lnTo>
                    <a:pt x="722" y="181"/>
                  </a:lnTo>
                  <a:lnTo>
                    <a:pt x="714" y="193"/>
                  </a:lnTo>
                  <a:lnTo>
                    <a:pt x="694" y="209"/>
                  </a:lnTo>
                  <a:lnTo>
                    <a:pt x="686" y="213"/>
                  </a:lnTo>
                  <a:lnTo>
                    <a:pt x="682" y="213"/>
                  </a:lnTo>
                  <a:lnTo>
                    <a:pt x="674" y="222"/>
                  </a:lnTo>
                  <a:lnTo>
                    <a:pt x="666" y="226"/>
                  </a:lnTo>
                  <a:lnTo>
                    <a:pt x="654" y="234"/>
                  </a:lnTo>
                  <a:lnTo>
                    <a:pt x="633" y="238"/>
                  </a:lnTo>
                  <a:lnTo>
                    <a:pt x="629" y="238"/>
                  </a:lnTo>
                  <a:lnTo>
                    <a:pt x="621" y="238"/>
                  </a:lnTo>
                  <a:lnTo>
                    <a:pt x="605" y="250"/>
                  </a:lnTo>
                  <a:lnTo>
                    <a:pt x="593" y="262"/>
                  </a:lnTo>
                  <a:lnTo>
                    <a:pt x="593" y="282"/>
                  </a:lnTo>
                  <a:lnTo>
                    <a:pt x="593" y="310"/>
                  </a:lnTo>
                  <a:lnTo>
                    <a:pt x="597" y="318"/>
                  </a:lnTo>
                  <a:lnTo>
                    <a:pt x="601" y="318"/>
                  </a:lnTo>
                  <a:lnTo>
                    <a:pt x="601" y="334"/>
                  </a:lnTo>
                  <a:lnTo>
                    <a:pt x="601" y="343"/>
                  </a:lnTo>
                  <a:lnTo>
                    <a:pt x="593" y="351"/>
                  </a:lnTo>
                  <a:lnTo>
                    <a:pt x="581" y="367"/>
                  </a:lnTo>
                  <a:lnTo>
                    <a:pt x="573" y="367"/>
                  </a:lnTo>
                  <a:lnTo>
                    <a:pt x="569" y="371"/>
                  </a:lnTo>
                  <a:lnTo>
                    <a:pt x="561" y="375"/>
                  </a:lnTo>
                  <a:lnTo>
                    <a:pt x="557" y="379"/>
                  </a:lnTo>
                  <a:lnTo>
                    <a:pt x="557" y="387"/>
                  </a:lnTo>
                  <a:lnTo>
                    <a:pt x="557" y="399"/>
                  </a:lnTo>
                  <a:lnTo>
                    <a:pt x="561" y="399"/>
                  </a:lnTo>
                  <a:lnTo>
                    <a:pt x="561" y="419"/>
                  </a:lnTo>
                  <a:lnTo>
                    <a:pt x="565" y="435"/>
                  </a:lnTo>
                  <a:lnTo>
                    <a:pt x="569" y="439"/>
                  </a:lnTo>
                  <a:lnTo>
                    <a:pt x="573" y="443"/>
                  </a:lnTo>
                  <a:lnTo>
                    <a:pt x="577" y="456"/>
                  </a:lnTo>
                  <a:lnTo>
                    <a:pt x="585" y="480"/>
                  </a:lnTo>
                  <a:lnTo>
                    <a:pt x="585" y="516"/>
                  </a:lnTo>
                  <a:lnTo>
                    <a:pt x="585" y="552"/>
                  </a:lnTo>
                  <a:lnTo>
                    <a:pt x="581" y="552"/>
                  </a:lnTo>
                  <a:lnTo>
                    <a:pt x="577" y="560"/>
                  </a:lnTo>
                  <a:lnTo>
                    <a:pt x="577" y="564"/>
                  </a:lnTo>
                  <a:lnTo>
                    <a:pt x="577" y="573"/>
                  </a:lnTo>
                  <a:lnTo>
                    <a:pt x="577" y="585"/>
                  </a:lnTo>
                  <a:lnTo>
                    <a:pt x="577" y="597"/>
                  </a:lnTo>
                  <a:lnTo>
                    <a:pt x="581" y="597"/>
                  </a:lnTo>
                  <a:lnTo>
                    <a:pt x="601" y="597"/>
                  </a:lnTo>
                  <a:lnTo>
                    <a:pt x="605" y="597"/>
                  </a:lnTo>
                  <a:lnTo>
                    <a:pt x="609" y="601"/>
                  </a:lnTo>
                  <a:lnTo>
                    <a:pt x="609" y="613"/>
                  </a:lnTo>
                  <a:lnTo>
                    <a:pt x="609" y="629"/>
                  </a:lnTo>
                  <a:lnTo>
                    <a:pt x="609" y="637"/>
                  </a:lnTo>
                  <a:lnTo>
                    <a:pt x="605" y="645"/>
                  </a:lnTo>
                  <a:lnTo>
                    <a:pt x="593" y="653"/>
                  </a:lnTo>
                  <a:lnTo>
                    <a:pt x="577" y="665"/>
                  </a:lnTo>
                  <a:lnTo>
                    <a:pt x="569" y="681"/>
                  </a:lnTo>
                  <a:lnTo>
                    <a:pt x="549" y="698"/>
                  </a:lnTo>
                  <a:lnTo>
                    <a:pt x="549" y="706"/>
                  </a:lnTo>
                  <a:lnTo>
                    <a:pt x="549" y="722"/>
                  </a:lnTo>
                  <a:lnTo>
                    <a:pt x="557" y="726"/>
                  </a:lnTo>
                  <a:lnTo>
                    <a:pt x="561" y="726"/>
                  </a:lnTo>
                  <a:lnTo>
                    <a:pt x="573" y="730"/>
                  </a:lnTo>
                  <a:lnTo>
                    <a:pt x="593" y="734"/>
                  </a:lnTo>
                  <a:lnTo>
                    <a:pt x="593" y="738"/>
                  </a:lnTo>
                  <a:lnTo>
                    <a:pt x="593" y="742"/>
                  </a:lnTo>
                  <a:lnTo>
                    <a:pt x="601" y="746"/>
                  </a:lnTo>
                  <a:lnTo>
                    <a:pt x="609" y="754"/>
                  </a:lnTo>
                  <a:lnTo>
                    <a:pt x="621" y="762"/>
                  </a:lnTo>
                  <a:lnTo>
                    <a:pt x="629" y="782"/>
                  </a:lnTo>
                  <a:lnTo>
                    <a:pt x="629" y="807"/>
                  </a:lnTo>
                  <a:lnTo>
                    <a:pt x="629" y="827"/>
                  </a:lnTo>
                  <a:lnTo>
                    <a:pt x="625" y="827"/>
                  </a:lnTo>
                  <a:lnTo>
                    <a:pt x="629" y="839"/>
                  </a:lnTo>
                  <a:lnTo>
                    <a:pt x="629" y="851"/>
                  </a:lnTo>
                  <a:lnTo>
                    <a:pt x="641" y="851"/>
                  </a:lnTo>
                  <a:lnTo>
                    <a:pt x="658" y="851"/>
                  </a:lnTo>
                  <a:lnTo>
                    <a:pt x="666" y="839"/>
                  </a:lnTo>
                  <a:lnTo>
                    <a:pt x="674" y="827"/>
                  </a:lnTo>
                  <a:lnTo>
                    <a:pt x="682" y="819"/>
                  </a:lnTo>
                  <a:lnTo>
                    <a:pt x="686" y="811"/>
                  </a:lnTo>
                  <a:lnTo>
                    <a:pt x="694" y="827"/>
                  </a:lnTo>
                  <a:lnTo>
                    <a:pt x="702" y="847"/>
                  </a:lnTo>
                  <a:lnTo>
                    <a:pt x="706" y="851"/>
                  </a:lnTo>
                  <a:lnTo>
                    <a:pt x="710" y="855"/>
                  </a:lnTo>
                  <a:lnTo>
                    <a:pt x="722" y="855"/>
                  </a:lnTo>
                  <a:lnTo>
                    <a:pt x="742" y="855"/>
                  </a:lnTo>
                  <a:lnTo>
                    <a:pt x="746" y="851"/>
                  </a:lnTo>
                  <a:lnTo>
                    <a:pt x="758" y="847"/>
                  </a:lnTo>
                  <a:lnTo>
                    <a:pt x="771" y="847"/>
                  </a:lnTo>
                  <a:lnTo>
                    <a:pt x="779" y="847"/>
                  </a:lnTo>
                  <a:lnTo>
                    <a:pt x="779" y="851"/>
                  </a:lnTo>
                  <a:lnTo>
                    <a:pt x="779" y="855"/>
                  </a:lnTo>
                  <a:lnTo>
                    <a:pt x="746" y="875"/>
                  </a:lnTo>
                  <a:lnTo>
                    <a:pt x="726" y="883"/>
                  </a:lnTo>
                  <a:lnTo>
                    <a:pt x="722" y="887"/>
                  </a:lnTo>
                  <a:lnTo>
                    <a:pt x="718" y="887"/>
                  </a:lnTo>
                  <a:lnTo>
                    <a:pt x="718" y="919"/>
                  </a:lnTo>
                  <a:lnTo>
                    <a:pt x="718" y="948"/>
                  </a:lnTo>
                  <a:lnTo>
                    <a:pt x="722" y="972"/>
                  </a:lnTo>
                  <a:lnTo>
                    <a:pt x="734" y="992"/>
                  </a:lnTo>
                  <a:lnTo>
                    <a:pt x="746" y="996"/>
                  </a:lnTo>
                  <a:lnTo>
                    <a:pt x="767" y="1000"/>
                  </a:lnTo>
                  <a:lnTo>
                    <a:pt x="775" y="996"/>
                  </a:lnTo>
                  <a:lnTo>
                    <a:pt x="787" y="992"/>
                  </a:lnTo>
                  <a:lnTo>
                    <a:pt x="791" y="984"/>
                  </a:lnTo>
                  <a:lnTo>
                    <a:pt x="799" y="972"/>
                  </a:lnTo>
                  <a:lnTo>
                    <a:pt x="795" y="964"/>
                  </a:lnTo>
                  <a:lnTo>
                    <a:pt x="799" y="919"/>
                  </a:lnTo>
                  <a:lnTo>
                    <a:pt x="807" y="915"/>
                  </a:lnTo>
                  <a:lnTo>
                    <a:pt x="815" y="907"/>
                  </a:lnTo>
                  <a:lnTo>
                    <a:pt x="823" y="907"/>
                  </a:lnTo>
                  <a:lnTo>
                    <a:pt x="831" y="907"/>
                  </a:lnTo>
                  <a:lnTo>
                    <a:pt x="835" y="928"/>
                  </a:lnTo>
                  <a:lnTo>
                    <a:pt x="843" y="960"/>
                  </a:lnTo>
                  <a:lnTo>
                    <a:pt x="843" y="964"/>
                  </a:lnTo>
                  <a:lnTo>
                    <a:pt x="851" y="972"/>
                  </a:lnTo>
                  <a:lnTo>
                    <a:pt x="859" y="980"/>
                  </a:lnTo>
                  <a:lnTo>
                    <a:pt x="871" y="984"/>
                  </a:lnTo>
                  <a:lnTo>
                    <a:pt x="888" y="988"/>
                  </a:lnTo>
                  <a:lnTo>
                    <a:pt x="912" y="988"/>
                  </a:lnTo>
                  <a:lnTo>
                    <a:pt x="920" y="980"/>
                  </a:lnTo>
                  <a:lnTo>
                    <a:pt x="932" y="976"/>
                  </a:lnTo>
                  <a:lnTo>
                    <a:pt x="936" y="976"/>
                  </a:lnTo>
                  <a:lnTo>
                    <a:pt x="944" y="976"/>
                  </a:lnTo>
                  <a:lnTo>
                    <a:pt x="952" y="992"/>
                  </a:lnTo>
                  <a:lnTo>
                    <a:pt x="960" y="1008"/>
                  </a:lnTo>
                  <a:lnTo>
                    <a:pt x="972" y="1016"/>
                  </a:lnTo>
                  <a:lnTo>
                    <a:pt x="1017" y="1036"/>
                  </a:lnTo>
                  <a:lnTo>
                    <a:pt x="1061" y="1045"/>
                  </a:lnTo>
                  <a:lnTo>
                    <a:pt x="1077" y="1045"/>
                  </a:lnTo>
                  <a:lnTo>
                    <a:pt x="1081" y="1032"/>
                  </a:lnTo>
                  <a:lnTo>
                    <a:pt x="1089" y="1020"/>
                  </a:lnTo>
                  <a:lnTo>
                    <a:pt x="1089" y="1008"/>
                  </a:lnTo>
                  <a:lnTo>
                    <a:pt x="1089" y="992"/>
                  </a:lnTo>
                  <a:lnTo>
                    <a:pt x="1085" y="984"/>
                  </a:lnTo>
                  <a:lnTo>
                    <a:pt x="1081" y="976"/>
                  </a:lnTo>
                  <a:lnTo>
                    <a:pt x="1081" y="940"/>
                  </a:lnTo>
                  <a:lnTo>
                    <a:pt x="1085" y="915"/>
                  </a:lnTo>
                  <a:lnTo>
                    <a:pt x="1077" y="899"/>
                  </a:lnTo>
                  <a:lnTo>
                    <a:pt x="1073" y="883"/>
                  </a:lnTo>
                  <a:lnTo>
                    <a:pt x="1065" y="883"/>
                  </a:lnTo>
                  <a:lnTo>
                    <a:pt x="1061" y="867"/>
                  </a:lnTo>
                  <a:lnTo>
                    <a:pt x="1053" y="855"/>
                  </a:lnTo>
                  <a:lnTo>
                    <a:pt x="1049" y="839"/>
                  </a:lnTo>
                  <a:lnTo>
                    <a:pt x="1049" y="827"/>
                  </a:lnTo>
                  <a:lnTo>
                    <a:pt x="1045" y="815"/>
                  </a:lnTo>
                  <a:lnTo>
                    <a:pt x="1037" y="811"/>
                  </a:lnTo>
                  <a:lnTo>
                    <a:pt x="1033" y="794"/>
                  </a:lnTo>
                  <a:lnTo>
                    <a:pt x="1033" y="782"/>
                  </a:lnTo>
                  <a:lnTo>
                    <a:pt x="1025" y="774"/>
                  </a:lnTo>
                  <a:lnTo>
                    <a:pt x="1017" y="766"/>
                  </a:lnTo>
                  <a:lnTo>
                    <a:pt x="1009" y="754"/>
                  </a:lnTo>
                  <a:lnTo>
                    <a:pt x="1000" y="746"/>
                  </a:lnTo>
                  <a:lnTo>
                    <a:pt x="996" y="738"/>
                  </a:lnTo>
                  <a:lnTo>
                    <a:pt x="988" y="726"/>
                  </a:lnTo>
                  <a:lnTo>
                    <a:pt x="964" y="726"/>
                  </a:lnTo>
                  <a:lnTo>
                    <a:pt x="952" y="726"/>
                  </a:lnTo>
                  <a:lnTo>
                    <a:pt x="944" y="722"/>
                  </a:lnTo>
                  <a:lnTo>
                    <a:pt x="940" y="718"/>
                  </a:lnTo>
                  <a:lnTo>
                    <a:pt x="940" y="706"/>
                  </a:lnTo>
                  <a:lnTo>
                    <a:pt x="940" y="694"/>
                  </a:lnTo>
                  <a:lnTo>
                    <a:pt x="972" y="673"/>
                  </a:lnTo>
                  <a:lnTo>
                    <a:pt x="1029" y="637"/>
                  </a:lnTo>
                  <a:lnTo>
                    <a:pt x="1085" y="629"/>
                  </a:lnTo>
                  <a:lnTo>
                    <a:pt x="1113" y="629"/>
                  </a:lnTo>
                  <a:lnTo>
                    <a:pt x="1117" y="629"/>
                  </a:lnTo>
                  <a:lnTo>
                    <a:pt x="1126" y="633"/>
                  </a:lnTo>
                  <a:lnTo>
                    <a:pt x="1134" y="633"/>
                  </a:lnTo>
                  <a:lnTo>
                    <a:pt x="1146" y="633"/>
                  </a:lnTo>
                  <a:lnTo>
                    <a:pt x="1154" y="629"/>
                  </a:lnTo>
                  <a:lnTo>
                    <a:pt x="1158" y="625"/>
                  </a:lnTo>
                  <a:lnTo>
                    <a:pt x="1178" y="625"/>
                  </a:lnTo>
                  <a:lnTo>
                    <a:pt x="1194" y="621"/>
                  </a:lnTo>
                  <a:lnTo>
                    <a:pt x="1202" y="625"/>
                  </a:lnTo>
                  <a:lnTo>
                    <a:pt x="1202" y="633"/>
                  </a:lnTo>
                  <a:lnTo>
                    <a:pt x="1206" y="637"/>
                  </a:lnTo>
                  <a:lnTo>
                    <a:pt x="1218" y="641"/>
                  </a:lnTo>
                  <a:lnTo>
                    <a:pt x="1226" y="645"/>
                  </a:lnTo>
                  <a:lnTo>
                    <a:pt x="1259" y="677"/>
                  </a:lnTo>
                  <a:lnTo>
                    <a:pt x="1275" y="690"/>
                  </a:lnTo>
                  <a:lnTo>
                    <a:pt x="1295" y="690"/>
                  </a:lnTo>
                  <a:lnTo>
                    <a:pt x="1307" y="690"/>
                  </a:lnTo>
                  <a:lnTo>
                    <a:pt x="1319" y="694"/>
                  </a:lnTo>
                  <a:lnTo>
                    <a:pt x="1323" y="698"/>
                  </a:lnTo>
                  <a:lnTo>
                    <a:pt x="1327" y="706"/>
                  </a:lnTo>
                  <a:lnTo>
                    <a:pt x="1331" y="718"/>
                  </a:lnTo>
                  <a:lnTo>
                    <a:pt x="1331" y="722"/>
                  </a:lnTo>
                  <a:lnTo>
                    <a:pt x="1331" y="734"/>
                  </a:lnTo>
                  <a:lnTo>
                    <a:pt x="1319" y="754"/>
                  </a:lnTo>
                  <a:lnTo>
                    <a:pt x="1311" y="766"/>
                  </a:lnTo>
                  <a:lnTo>
                    <a:pt x="1311" y="778"/>
                  </a:lnTo>
                  <a:lnTo>
                    <a:pt x="1311" y="790"/>
                  </a:lnTo>
                  <a:lnTo>
                    <a:pt x="1323" y="807"/>
                  </a:lnTo>
                  <a:lnTo>
                    <a:pt x="1331" y="819"/>
                  </a:lnTo>
                  <a:lnTo>
                    <a:pt x="1339" y="827"/>
                  </a:lnTo>
                  <a:lnTo>
                    <a:pt x="1355" y="839"/>
                  </a:lnTo>
                  <a:lnTo>
                    <a:pt x="1355" y="847"/>
                  </a:lnTo>
                  <a:lnTo>
                    <a:pt x="1355" y="859"/>
                  </a:lnTo>
                  <a:lnTo>
                    <a:pt x="1351" y="867"/>
                  </a:lnTo>
                  <a:lnTo>
                    <a:pt x="1351" y="879"/>
                  </a:lnTo>
                  <a:lnTo>
                    <a:pt x="1339" y="887"/>
                  </a:lnTo>
                  <a:lnTo>
                    <a:pt x="1331" y="899"/>
                  </a:lnTo>
                  <a:lnTo>
                    <a:pt x="1331" y="907"/>
                  </a:lnTo>
                  <a:lnTo>
                    <a:pt x="1331" y="919"/>
                  </a:lnTo>
                  <a:lnTo>
                    <a:pt x="1323" y="948"/>
                  </a:lnTo>
                  <a:lnTo>
                    <a:pt x="1319" y="968"/>
                  </a:lnTo>
                  <a:lnTo>
                    <a:pt x="1307" y="972"/>
                  </a:lnTo>
                  <a:lnTo>
                    <a:pt x="1295" y="976"/>
                  </a:lnTo>
                  <a:lnTo>
                    <a:pt x="1283" y="976"/>
                  </a:lnTo>
                  <a:lnTo>
                    <a:pt x="1275" y="972"/>
                  </a:lnTo>
                  <a:lnTo>
                    <a:pt x="1271" y="972"/>
                  </a:lnTo>
                  <a:lnTo>
                    <a:pt x="1259" y="972"/>
                  </a:lnTo>
                  <a:lnTo>
                    <a:pt x="1247" y="972"/>
                  </a:lnTo>
                  <a:lnTo>
                    <a:pt x="1239" y="980"/>
                  </a:lnTo>
                  <a:lnTo>
                    <a:pt x="1226" y="992"/>
                  </a:lnTo>
                  <a:lnTo>
                    <a:pt x="1222" y="1020"/>
                  </a:lnTo>
                  <a:lnTo>
                    <a:pt x="1214" y="1045"/>
                  </a:lnTo>
                  <a:lnTo>
                    <a:pt x="1210" y="1049"/>
                  </a:lnTo>
                  <a:lnTo>
                    <a:pt x="1206" y="1057"/>
                  </a:lnTo>
                  <a:lnTo>
                    <a:pt x="1206" y="1093"/>
                  </a:lnTo>
                  <a:lnTo>
                    <a:pt x="1206" y="1121"/>
                  </a:lnTo>
                  <a:lnTo>
                    <a:pt x="1210" y="1125"/>
                  </a:lnTo>
                  <a:lnTo>
                    <a:pt x="1218" y="1133"/>
                  </a:lnTo>
                  <a:lnTo>
                    <a:pt x="1218" y="1149"/>
                  </a:lnTo>
                  <a:lnTo>
                    <a:pt x="1218" y="1170"/>
                  </a:lnTo>
                  <a:lnTo>
                    <a:pt x="1218" y="1186"/>
                  </a:lnTo>
                  <a:lnTo>
                    <a:pt x="1214" y="1202"/>
                  </a:lnTo>
                  <a:lnTo>
                    <a:pt x="1190" y="1210"/>
                  </a:lnTo>
                  <a:lnTo>
                    <a:pt x="1170" y="1210"/>
                  </a:lnTo>
                  <a:lnTo>
                    <a:pt x="1166" y="1210"/>
                  </a:lnTo>
                  <a:lnTo>
                    <a:pt x="1166" y="1218"/>
                  </a:lnTo>
                  <a:lnTo>
                    <a:pt x="1142" y="1218"/>
                  </a:lnTo>
                  <a:lnTo>
                    <a:pt x="1126" y="1218"/>
                  </a:lnTo>
                  <a:lnTo>
                    <a:pt x="1113" y="1222"/>
                  </a:lnTo>
                  <a:lnTo>
                    <a:pt x="1109" y="1230"/>
                  </a:lnTo>
                  <a:lnTo>
                    <a:pt x="1109" y="1246"/>
                  </a:lnTo>
                  <a:lnTo>
                    <a:pt x="1109" y="1266"/>
                  </a:lnTo>
                  <a:lnTo>
                    <a:pt x="1130" y="1287"/>
                  </a:lnTo>
                  <a:lnTo>
                    <a:pt x="1134" y="1295"/>
                  </a:lnTo>
                  <a:lnTo>
                    <a:pt x="1134" y="1311"/>
                  </a:lnTo>
                  <a:lnTo>
                    <a:pt x="1134" y="1319"/>
                  </a:lnTo>
                  <a:lnTo>
                    <a:pt x="1126" y="1331"/>
                  </a:lnTo>
                  <a:lnTo>
                    <a:pt x="1113" y="1339"/>
                  </a:lnTo>
                  <a:lnTo>
                    <a:pt x="1105" y="1351"/>
                  </a:lnTo>
                  <a:lnTo>
                    <a:pt x="1097" y="1355"/>
                  </a:lnTo>
                  <a:lnTo>
                    <a:pt x="1077" y="1359"/>
                  </a:lnTo>
                  <a:lnTo>
                    <a:pt x="1053" y="1363"/>
                  </a:lnTo>
                  <a:lnTo>
                    <a:pt x="1045" y="1375"/>
                  </a:lnTo>
                  <a:lnTo>
                    <a:pt x="1037" y="1375"/>
                  </a:lnTo>
                  <a:lnTo>
                    <a:pt x="1029" y="1375"/>
                  </a:lnTo>
                  <a:lnTo>
                    <a:pt x="1021" y="1375"/>
                  </a:lnTo>
                  <a:lnTo>
                    <a:pt x="1021" y="1396"/>
                  </a:lnTo>
                  <a:lnTo>
                    <a:pt x="1021" y="1412"/>
                  </a:lnTo>
                  <a:lnTo>
                    <a:pt x="1017" y="1412"/>
                  </a:lnTo>
                  <a:lnTo>
                    <a:pt x="1013" y="1416"/>
                  </a:lnTo>
                  <a:lnTo>
                    <a:pt x="1013" y="1424"/>
                  </a:lnTo>
                  <a:lnTo>
                    <a:pt x="1009" y="1428"/>
                  </a:lnTo>
                  <a:lnTo>
                    <a:pt x="988" y="1428"/>
                  </a:lnTo>
                  <a:lnTo>
                    <a:pt x="968" y="1428"/>
                  </a:lnTo>
                  <a:lnTo>
                    <a:pt x="960" y="1428"/>
                  </a:lnTo>
                  <a:lnTo>
                    <a:pt x="944" y="1424"/>
                  </a:lnTo>
                  <a:lnTo>
                    <a:pt x="936" y="1424"/>
                  </a:lnTo>
                  <a:lnTo>
                    <a:pt x="928" y="1428"/>
                  </a:lnTo>
                  <a:lnTo>
                    <a:pt x="920" y="1428"/>
                  </a:lnTo>
                  <a:lnTo>
                    <a:pt x="912" y="1440"/>
                  </a:lnTo>
                  <a:lnTo>
                    <a:pt x="912" y="1464"/>
                  </a:lnTo>
                  <a:lnTo>
                    <a:pt x="912" y="1492"/>
                  </a:lnTo>
                  <a:lnTo>
                    <a:pt x="916" y="1496"/>
                  </a:lnTo>
                  <a:lnTo>
                    <a:pt x="916" y="1509"/>
                  </a:lnTo>
                  <a:lnTo>
                    <a:pt x="928" y="1517"/>
                  </a:lnTo>
                  <a:lnTo>
                    <a:pt x="936" y="1525"/>
                  </a:lnTo>
                  <a:lnTo>
                    <a:pt x="936" y="1529"/>
                  </a:lnTo>
                  <a:lnTo>
                    <a:pt x="936" y="1533"/>
                  </a:lnTo>
                  <a:lnTo>
                    <a:pt x="928" y="1537"/>
                  </a:lnTo>
                  <a:lnTo>
                    <a:pt x="920" y="1545"/>
                  </a:lnTo>
                  <a:lnTo>
                    <a:pt x="904" y="1545"/>
                  </a:lnTo>
                  <a:lnTo>
                    <a:pt x="888" y="1545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49" name="Freeform 61"/>
            <p:cNvSpPr>
              <a:spLocks/>
            </p:cNvSpPr>
            <p:nvPr/>
          </p:nvSpPr>
          <p:spPr bwMode="auto">
            <a:xfrm>
              <a:off x="4132346" y="1611763"/>
              <a:ext cx="1624013" cy="1045798"/>
            </a:xfrm>
            <a:custGeom>
              <a:avLst/>
              <a:gdLst>
                <a:gd name="T0" fmla="*/ 2147483647 w 1808"/>
                <a:gd name="T1" fmla="*/ 2147483647 h 1174"/>
                <a:gd name="T2" fmla="*/ 2147483647 w 1808"/>
                <a:gd name="T3" fmla="*/ 2147483647 h 1174"/>
                <a:gd name="T4" fmla="*/ 2147483647 w 1808"/>
                <a:gd name="T5" fmla="*/ 2147483647 h 1174"/>
                <a:gd name="T6" fmla="*/ 2147483647 w 1808"/>
                <a:gd name="T7" fmla="*/ 2147483647 h 1174"/>
                <a:gd name="T8" fmla="*/ 2147483647 w 1808"/>
                <a:gd name="T9" fmla="*/ 2147483647 h 1174"/>
                <a:gd name="T10" fmla="*/ 2147483647 w 1808"/>
                <a:gd name="T11" fmla="*/ 2147483647 h 1174"/>
                <a:gd name="T12" fmla="*/ 2147483647 w 1808"/>
                <a:gd name="T13" fmla="*/ 2147483647 h 1174"/>
                <a:gd name="T14" fmla="*/ 2147483647 w 1808"/>
                <a:gd name="T15" fmla="*/ 2147483647 h 1174"/>
                <a:gd name="T16" fmla="*/ 2147483647 w 1808"/>
                <a:gd name="T17" fmla="*/ 2147483647 h 1174"/>
                <a:gd name="T18" fmla="*/ 2147483647 w 1808"/>
                <a:gd name="T19" fmla="*/ 2147483647 h 1174"/>
                <a:gd name="T20" fmla="*/ 2147483647 w 1808"/>
                <a:gd name="T21" fmla="*/ 2147483647 h 1174"/>
                <a:gd name="T22" fmla="*/ 2147483647 w 1808"/>
                <a:gd name="T23" fmla="*/ 2147483647 h 1174"/>
                <a:gd name="T24" fmla="*/ 2147483647 w 1808"/>
                <a:gd name="T25" fmla="*/ 2147483647 h 1174"/>
                <a:gd name="T26" fmla="*/ 2147483647 w 1808"/>
                <a:gd name="T27" fmla="*/ 2147483647 h 1174"/>
                <a:gd name="T28" fmla="*/ 0 w 1808"/>
                <a:gd name="T29" fmla="*/ 2147483647 h 1174"/>
                <a:gd name="T30" fmla="*/ 2147483647 w 1808"/>
                <a:gd name="T31" fmla="*/ 2147483647 h 1174"/>
                <a:gd name="T32" fmla="*/ 2147483647 w 1808"/>
                <a:gd name="T33" fmla="*/ 2147483647 h 1174"/>
                <a:gd name="T34" fmla="*/ 2147483647 w 1808"/>
                <a:gd name="T35" fmla="*/ 2147483647 h 1174"/>
                <a:gd name="T36" fmla="*/ 2147483647 w 1808"/>
                <a:gd name="T37" fmla="*/ 2147483647 h 1174"/>
                <a:gd name="T38" fmla="*/ 2147483647 w 1808"/>
                <a:gd name="T39" fmla="*/ 2147483647 h 1174"/>
                <a:gd name="T40" fmla="*/ 2147483647 w 1808"/>
                <a:gd name="T41" fmla="*/ 2147483647 h 1174"/>
                <a:gd name="T42" fmla="*/ 2147483647 w 1808"/>
                <a:gd name="T43" fmla="*/ 2147483647 h 1174"/>
                <a:gd name="T44" fmla="*/ 2147483647 w 1808"/>
                <a:gd name="T45" fmla="*/ 2147483647 h 1174"/>
                <a:gd name="T46" fmla="*/ 2147483647 w 1808"/>
                <a:gd name="T47" fmla="*/ 2147483647 h 1174"/>
                <a:gd name="T48" fmla="*/ 2147483647 w 1808"/>
                <a:gd name="T49" fmla="*/ 2147483647 h 1174"/>
                <a:gd name="T50" fmla="*/ 2147483647 w 1808"/>
                <a:gd name="T51" fmla="*/ 2147483647 h 1174"/>
                <a:gd name="T52" fmla="*/ 2147483647 w 1808"/>
                <a:gd name="T53" fmla="*/ 2147483647 h 1174"/>
                <a:gd name="T54" fmla="*/ 2147483647 w 1808"/>
                <a:gd name="T55" fmla="*/ 2147483647 h 1174"/>
                <a:gd name="T56" fmla="*/ 2147483647 w 1808"/>
                <a:gd name="T57" fmla="*/ 2147483647 h 1174"/>
                <a:gd name="T58" fmla="*/ 2147483647 w 1808"/>
                <a:gd name="T59" fmla="*/ 2147483647 h 1174"/>
                <a:gd name="T60" fmla="*/ 2147483647 w 1808"/>
                <a:gd name="T61" fmla="*/ 2147483647 h 1174"/>
                <a:gd name="T62" fmla="*/ 2147483647 w 1808"/>
                <a:gd name="T63" fmla="*/ 2147483647 h 1174"/>
                <a:gd name="T64" fmla="*/ 2147483647 w 1808"/>
                <a:gd name="T65" fmla="*/ 2147483647 h 1174"/>
                <a:gd name="T66" fmla="*/ 2147483647 w 1808"/>
                <a:gd name="T67" fmla="*/ 2147483647 h 1174"/>
                <a:gd name="T68" fmla="*/ 2147483647 w 1808"/>
                <a:gd name="T69" fmla="*/ 2147483647 h 1174"/>
                <a:gd name="T70" fmla="*/ 2147483647 w 1808"/>
                <a:gd name="T71" fmla="*/ 2147483647 h 1174"/>
                <a:gd name="T72" fmla="*/ 2147483647 w 1808"/>
                <a:gd name="T73" fmla="*/ 2147483647 h 1174"/>
                <a:gd name="T74" fmla="*/ 2147483647 w 1808"/>
                <a:gd name="T75" fmla="*/ 2147483647 h 1174"/>
                <a:gd name="T76" fmla="*/ 2147483647 w 1808"/>
                <a:gd name="T77" fmla="*/ 2147483647 h 1174"/>
                <a:gd name="T78" fmla="*/ 2147483647 w 1808"/>
                <a:gd name="T79" fmla="*/ 2147483647 h 1174"/>
                <a:gd name="T80" fmla="*/ 2147483647 w 1808"/>
                <a:gd name="T81" fmla="*/ 2147483647 h 1174"/>
                <a:gd name="T82" fmla="*/ 2147483647 w 1808"/>
                <a:gd name="T83" fmla="*/ 2147483647 h 1174"/>
                <a:gd name="T84" fmla="*/ 2147483647 w 1808"/>
                <a:gd name="T85" fmla="*/ 2147483647 h 1174"/>
                <a:gd name="T86" fmla="*/ 2147483647 w 1808"/>
                <a:gd name="T87" fmla="*/ 2147483647 h 1174"/>
                <a:gd name="T88" fmla="*/ 2147483647 w 1808"/>
                <a:gd name="T89" fmla="*/ 2147483647 h 1174"/>
                <a:gd name="T90" fmla="*/ 2147483647 w 1808"/>
                <a:gd name="T91" fmla="*/ 2147483647 h 1174"/>
                <a:gd name="T92" fmla="*/ 2147483647 w 1808"/>
                <a:gd name="T93" fmla="*/ 2147483647 h 1174"/>
                <a:gd name="T94" fmla="*/ 2147483647 w 1808"/>
                <a:gd name="T95" fmla="*/ 2147483647 h 1174"/>
                <a:gd name="T96" fmla="*/ 2147483647 w 1808"/>
                <a:gd name="T97" fmla="*/ 2147483647 h 1174"/>
                <a:gd name="T98" fmla="*/ 2147483647 w 1808"/>
                <a:gd name="T99" fmla="*/ 2147483647 h 1174"/>
                <a:gd name="T100" fmla="*/ 2147483647 w 1808"/>
                <a:gd name="T101" fmla="*/ 2147483647 h 1174"/>
                <a:gd name="T102" fmla="*/ 2147483647 w 1808"/>
                <a:gd name="T103" fmla="*/ 2147483647 h 1174"/>
                <a:gd name="T104" fmla="*/ 2147483647 w 1808"/>
                <a:gd name="T105" fmla="*/ 2147483647 h 1174"/>
                <a:gd name="T106" fmla="*/ 2147483647 w 1808"/>
                <a:gd name="T107" fmla="*/ 2147483647 h 1174"/>
                <a:gd name="T108" fmla="*/ 2147483647 w 1808"/>
                <a:gd name="T109" fmla="*/ 2147483647 h 1174"/>
                <a:gd name="T110" fmla="*/ 2147483647 w 1808"/>
                <a:gd name="T111" fmla="*/ 2147483647 h 1174"/>
                <a:gd name="T112" fmla="*/ 2147483647 w 1808"/>
                <a:gd name="T113" fmla="*/ 2147483647 h 1174"/>
                <a:gd name="T114" fmla="*/ 2147483647 w 1808"/>
                <a:gd name="T115" fmla="*/ 2147483647 h 1174"/>
                <a:gd name="T116" fmla="*/ 2147483647 w 1808"/>
                <a:gd name="T117" fmla="*/ 2147483647 h 1174"/>
                <a:gd name="T118" fmla="*/ 2147483647 w 1808"/>
                <a:gd name="T119" fmla="*/ 2147483647 h 1174"/>
                <a:gd name="T120" fmla="*/ 2147483647 w 1808"/>
                <a:gd name="T121" fmla="*/ 2147483647 h 1174"/>
                <a:gd name="T122" fmla="*/ 2147483647 w 1808"/>
                <a:gd name="T123" fmla="*/ 2147483647 h 117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808"/>
                <a:gd name="T187" fmla="*/ 0 h 1174"/>
                <a:gd name="T188" fmla="*/ 1808 w 1808"/>
                <a:gd name="T189" fmla="*/ 1174 h 117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808" h="1174">
                  <a:moveTo>
                    <a:pt x="751" y="1170"/>
                  </a:moveTo>
                  <a:lnTo>
                    <a:pt x="751" y="1166"/>
                  </a:lnTo>
                  <a:lnTo>
                    <a:pt x="747" y="1166"/>
                  </a:lnTo>
                  <a:lnTo>
                    <a:pt x="727" y="1162"/>
                  </a:lnTo>
                  <a:lnTo>
                    <a:pt x="702" y="1149"/>
                  </a:lnTo>
                  <a:lnTo>
                    <a:pt x="690" y="1149"/>
                  </a:lnTo>
                  <a:lnTo>
                    <a:pt x="682" y="1149"/>
                  </a:lnTo>
                  <a:lnTo>
                    <a:pt x="670" y="1158"/>
                  </a:lnTo>
                  <a:lnTo>
                    <a:pt x="666" y="1166"/>
                  </a:lnTo>
                  <a:lnTo>
                    <a:pt x="658" y="1166"/>
                  </a:lnTo>
                  <a:lnTo>
                    <a:pt x="646" y="1166"/>
                  </a:lnTo>
                  <a:lnTo>
                    <a:pt x="630" y="1149"/>
                  </a:lnTo>
                  <a:lnTo>
                    <a:pt x="622" y="1137"/>
                  </a:lnTo>
                  <a:lnTo>
                    <a:pt x="614" y="1129"/>
                  </a:lnTo>
                  <a:lnTo>
                    <a:pt x="610" y="1125"/>
                  </a:lnTo>
                  <a:lnTo>
                    <a:pt x="602" y="1121"/>
                  </a:lnTo>
                  <a:lnTo>
                    <a:pt x="598" y="1117"/>
                  </a:lnTo>
                  <a:lnTo>
                    <a:pt x="593" y="1117"/>
                  </a:lnTo>
                  <a:lnTo>
                    <a:pt x="585" y="1113"/>
                  </a:lnTo>
                  <a:lnTo>
                    <a:pt x="585" y="1101"/>
                  </a:lnTo>
                  <a:lnTo>
                    <a:pt x="585" y="1089"/>
                  </a:lnTo>
                  <a:lnTo>
                    <a:pt x="593" y="1085"/>
                  </a:lnTo>
                  <a:lnTo>
                    <a:pt x="593" y="1081"/>
                  </a:lnTo>
                  <a:lnTo>
                    <a:pt x="593" y="1061"/>
                  </a:lnTo>
                  <a:lnTo>
                    <a:pt x="598" y="1032"/>
                  </a:lnTo>
                  <a:lnTo>
                    <a:pt x="585" y="1024"/>
                  </a:lnTo>
                  <a:lnTo>
                    <a:pt x="581" y="1020"/>
                  </a:lnTo>
                  <a:lnTo>
                    <a:pt x="569" y="1016"/>
                  </a:lnTo>
                  <a:lnTo>
                    <a:pt x="557" y="1016"/>
                  </a:lnTo>
                  <a:lnTo>
                    <a:pt x="553" y="1012"/>
                  </a:lnTo>
                  <a:lnTo>
                    <a:pt x="545" y="996"/>
                  </a:lnTo>
                  <a:lnTo>
                    <a:pt x="545" y="988"/>
                  </a:lnTo>
                  <a:lnTo>
                    <a:pt x="545" y="976"/>
                  </a:lnTo>
                  <a:lnTo>
                    <a:pt x="549" y="968"/>
                  </a:lnTo>
                  <a:lnTo>
                    <a:pt x="553" y="964"/>
                  </a:lnTo>
                  <a:lnTo>
                    <a:pt x="553" y="952"/>
                  </a:lnTo>
                  <a:lnTo>
                    <a:pt x="553" y="932"/>
                  </a:lnTo>
                  <a:lnTo>
                    <a:pt x="549" y="915"/>
                  </a:lnTo>
                  <a:lnTo>
                    <a:pt x="545" y="895"/>
                  </a:lnTo>
                  <a:lnTo>
                    <a:pt x="545" y="867"/>
                  </a:lnTo>
                  <a:lnTo>
                    <a:pt x="545" y="839"/>
                  </a:lnTo>
                  <a:lnTo>
                    <a:pt x="541" y="835"/>
                  </a:lnTo>
                  <a:lnTo>
                    <a:pt x="541" y="831"/>
                  </a:lnTo>
                  <a:lnTo>
                    <a:pt x="541" y="811"/>
                  </a:lnTo>
                  <a:lnTo>
                    <a:pt x="541" y="786"/>
                  </a:lnTo>
                  <a:lnTo>
                    <a:pt x="529" y="774"/>
                  </a:lnTo>
                  <a:lnTo>
                    <a:pt x="521" y="758"/>
                  </a:lnTo>
                  <a:lnTo>
                    <a:pt x="517" y="750"/>
                  </a:lnTo>
                  <a:lnTo>
                    <a:pt x="509" y="746"/>
                  </a:lnTo>
                  <a:lnTo>
                    <a:pt x="493" y="746"/>
                  </a:lnTo>
                  <a:lnTo>
                    <a:pt x="472" y="742"/>
                  </a:lnTo>
                  <a:lnTo>
                    <a:pt x="456" y="726"/>
                  </a:lnTo>
                  <a:lnTo>
                    <a:pt x="432" y="710"/>
                  </a:lnTo>
                  <a:lnTo>
                    <a:pt x="432" y="702"/>
                  </a:lnTo>
                  <a:lnTo>
                    <a:pt x="432" y="698"/>
                  </a:lnTo>
                  <a:lnTo>
                    <a:pt x="412" y="677"/>
                  </a:lnTo>
                  <a:lnTo>
                    <a:pt x="408" y="669"/>
                  </a:lnTo>
                  <a:lnTo>
                    <a:pt x="384" y="669"/>
                  </a:lnTo>
                  <a:lnTo>
                    <a:pt x="364" y="669"/>
                  </a:lnTo>
                  <a:lnTo>
                    <a:pt x="347" y="685"/>
                  </a:lnTo>
                  <a:lnTo>
                    <a:pt x="327" y="694"/>
                  </a:lnTo>
                  <a:lnTo>
                    <a:pt x="319" y="694"/>
                  </a:lnTo>
                  <a:lnTo>
                    <a:pt x="311" y="698"/>
                  </a:lnTo>
                  <a:lnTo>
                    <a:pt x="311" y="690"/>
                  </a:lnTo>
                  <a:lnTo>
                    <a:pt x="303" y="673"/>
                  </a:lnTo>
                  <a:lnTo>
                    <a:pt x="295" y="653"/>
                  </a:lnTo>
                  <a:lnTo>
                    <a:pt x="283" y="625"/>
                  </a:lnTo>
                  <a:lnTo>
                    <a:pt x="271" y="613"/>
                  </a:lnTo>
                  <a:lnTo>
                    <a:pt x="263" y="601"/>
                  </a:lnTo>
                  <a:lnTo>
                    <a:pt x="243" y="597"/>
                  </a:lnTo>
                  <a:lnTo>
                    <a:pt x="218" y="593"/>
                  </a:lnTo>
                  <a:lnTo>
                    <a:pt x="214" y="589"/>
                  </a:lnTo>
                  <a:lnTo>
                    <a:pt x="206" y="585"/>
                  </a:lnTo>
                  <a:lnTo>
                    <a:pt x="198" y="568"/>
                  </a:lnTo>
                  <a:lnTo>
                    <a:pt x="182" y="552"/>
                  </a:lnTo>
                  <a:lnTo>
                    <a:pt x="178" y="552"/>
                  </a:lnTo>
                  <a:lnTo>
                    <a:pt x="170" y="548"/>
                  </a:lnTo>
                  <a:lnTo>
                    <a:pt x="158" y="532"/>
                  </a:lnTo>
                  <a:lnTo>
                    <a:pt x="154" y="516"/>
                  </a:lnTo>
                  <a:lnTo>
                    <a:pt x="150" y="500"/>
                  </a:lnTo>
                  <a:lnTo>
                    <a:pt x="146" y="488"/>
                  </a:lnTo>
                  <a:lnTo>
                    <a:pt x="134" y="480"/>
                  </a:lnTo>
                  <a:lnTo>
                    <a:pt x="130" y="468"/>
                  </a:lnTo>
                  <a:lnTo>
                    <a:pt x="101" y="447"/>
                  </a:lnTo>
                  <a:lnTo>
                    <a:pt x="89" y="431"/>
                  </a:lnTo>
                  <a:lnTo>
                    <a:pt x="57" y="431"/>
                  </a:lnTo>
                  <a:lnTo>
                    <a:pt x="17" y="431"/>
                  </a:lnTo>
                  <a:lnTo>
                    <a:pt x="9" y="415"/>
                  </a:lnTo>
                  <a:lnTo>
                    <a:pt x="0" y="403"/>
                  </a:lnTo>
                  <a:lnTo>
                    <a:pt x="0" y="395"/>
                  </a:lnTo>
                  <a:lnTo>
                    <a:pt x="0" y="383"/>
                  </a:lnTo>
                  <a:lnTo>
                    <a:pt x="9" y="371"/>
                  </a:lnTo>
                  <a:lnTo>
                    <a:pt x="21" y="359"/>
                  </a:lnTo>
                  <a:lnTo>
                    <a:pt x="25" y="343"/>
                  </a:lnTo>
                  <a:lnTo>
                    <a:pt x="29" y="339"/>
                  </a:lnTo>
                  <a:lnTo>
                    <a:pt x="73" y="334"/>
                  </a:lnTo>
                  <a:lnTo>
                    <a:pt x="89" y="330"/>
                  </a:lnTo>
                  <a:lnTo>
                    <a:pt x="101" y="330"/>
                  </a:lnTo>
                  <a:lnTo>
                    <a:pt x="121" y="330"/>
                  </a:lnTo>
                  <a:lnTo>
                    <a:pt x="146" y="322"/>
                  </a:lnTo>
                  <a:lnTo>
                    <a:pt x="150" y="314"/>
                  </a:lnTo>
                  <a:lnTo>
                    <a:pt x="162" y="314"/>
                  </a:lnTo>
                  <a:lnTo>
                    <a:pt x="170" y="310"/>
                  </a:lnTo>
                  <a:lnTo>
                    <a:pt x="178" y="302"/>
                  </a:lnTo>
                  <a:lnTo>
                    <a:pt x="182" y="298"/>
                  </a:lnTo>
                  <a:lnTo>
                    <a:pt x="186" y="290"/>
                  </a:lnTo>
                  <a:lnTo>
                    <a:pt x="194" y="278"/>
                  </a:lnTo>
                  <a:lnTo>
                    <a:pt x="194" y="230"/>
                  </a:lnTo>
                  <a:lnTo>
                    <a:pt x="194" y="189"/>
                  </a:lnTo>
                  <a:lnTo>
                    <a:pt x="194" y="177"/>
                  </a:lnTo>
                  <a:lnTo>
                    <a:pt x="198" y="177"/>
                  </a:lnTo>
                  <a:lnTo>
                    <a:pt x="206" y="177"/>
                  </a:lnTo>
                  <a:lnTo>
                    <a:pt x="214" y="177"/>
                  </a:lnTo>
                  <a:lnTo>
                    <a:pt x="230" y="165"/>
                  </a:lnTo>
                  <a:lnTo>
                    <a:pt x="238" y="161"/>
                  </a:lnTo>
                  <a:lnTo>
                    <a:pt x="247" y="149"/>
                  </a:lnTo>
                  <a:lnTo>
                    <a:pt x="251" y="117"/>
                  </a:lnTo>
                  <a:lnTo>
                    <a:pt x="259" y="117"/>
                  </a:lnTo>
                  <a:lnTo>
                    <a:pt x="263" y="113"/>
                  </a:lnTo>
                  <a:lnTo>
                    <a:pt x="275" y="105"/>
                  </a:lnTo>
                  <a:lnTo>
                    <a:pt x="295" y="100"/>
                  </a:lnTo>
                  <a:lnTo>
                    <a:pt x="299" y="92"/>
                  </a:lnTo>
                  <a:lnTo>
                    <a:pt x="311" y="84"/>
                  </a:lnTo>
                  <a:lnTo>
                    <a:pt x="315" y="72"/>
                  </a:lnTo>
                  <a:lnTo>
                    <a:pt x="319" y="60"/>
                  </a:lnTo>
                  <a:lnTo>
                    <a:pt x="335" y="36"/>
                  </a:lnTo>
                  <a:lnTo>
                    <a:pt x="355" y="20"/>
                  </a:lnTo>
                  <a:lnTo>
                    <a:pt x="364" y="20"/>
                  </a:lnTo>
                  <a:lnTo>
                    <a:pt x="380" y="20"/>
                  </a:lnTo>
                  <a:lnTo>
                    <a:pt x="384" y="40"/>
                  </a:lnTo>
                  <a:lnTo>
                    <a:pt x="384" y="48"/>
                  </a:lnTo>
                  <a:lnTo>
                    <a:pt x="380" y="52"/>
                  </a:lnTo>
                  <a:lnTo>
                    <a:pt x="380" y="60"/>
                  </a:lnTo>
                  <a:lnTo>
                    <a:pt x="364" y="64"/>
                  </a:lnTo>
                  <a:lnTo>
                    <a:pt x="355" y="68"/>
                  </a:lnTo>
                  <a:lnTo>
                    <a:pt x="351" y="72"/>
                  </a:lnTo>
                  <a:lnTo>
                    <a:pt x="347" y="76"/>
                  </a:lnTo>
                  <a:lnTo>
                    <a:pt x="347" y="100"/>
                  </a:lnTo>
                  <a:lnTo>
                    <a:pt x="347" y="117"/>
                  </a:lnTo>
                  <a:lnTo>
                    <a:pt x="351" y="121"/>
                  </a:lnTo>
                  <a:lnTo>
                    <a:pt x="359" y="125"/>
                  </a:lnTo>
                  <a:lnTo>
                    <a:pt x="368" y="125"/>
                  </a:lnTo>
                  <a:lnTo>
                    <a:pt x="380" y="129"/>
                  </a:lnTo>
                  <a:lnTo>
                    <a:pt x="408" y="149"/>
                  </a:lnTo>
                  <a:lnTo>
                    <a:pt x="432" y="165"/>
                  </a:lnTo>
                  <a:lnTo>
                    <a:pt x="460" y="173"/>
                  </a:lnTo>
                  <a:lnTo>
                    <a:pt x="493" y="177"/>
                  </a:lnTo>
                  <a:lnTo>
                    <a:pt x="533" y="177"/>
                  </a:lnTo>
                  <a:lnTo>
                    <a:pt x="577" y="177"/>
                  </a:lnTo>
                  <a:lnTo>
                    <a:pt x="602" y="173"/>
                  </a:lnTo>
                  <a:lnTo>
                    <a:pt x="622" y="161"/>
                  </a:lnTo>
                  <a:lnTo>
                    <a:pt x="634" y="141"/>
                  </a:lnTo>
                  <a:lnTo>
                    <a:pt x="650" y="121"/>
                  </a:lnTo>
                  <a:lnTo>
                    <a:pt x="650" y="100"/>
                  </a:lnTo>
                  <a:lnTo>
                    <a:pt x="638" y="60"/>
                  </a:lnTo>
                  <a:lnTo>
                    <a:pt x="634" y="44"/>
                  </a:lnTo>
                  <a:lnTo>
                    <a:pt x="630" y="28"/>
                  </a:lnTo>
                  <a:lnTo>
                    <a:pt x="622" y="24"/>
                  </a:lnTo>
                  <a:lnTo>
                    <a:pt x="614" y="20"/>
                  </a:lnTo>
                  <a:lnTo>
                    <a:pt x="614" y="12"/>
                  </a:lnTo>
                  <a:lnTo>
                    <a:pt x="622" y="0"/>
                  </a:lnTo>
                  <a:lnTo>
                    <a:pt x="646" y="12"/>
                  </a:lnTo>
                  <a:lnTo>
                    <a:pt x="694" y="28"/>
                  </a:lnTo>
                  <a:lnTo>
                    <a:pt x="715" y="44"/>
                  </a:lnTo>
                  <a:lnTo>
                    <a:pt x="731" y="64"/>
                  </a:lnTo>
                  <a:lnTo>
                    <a:pt x="739" y="76"/>
                  </a:lnTo>
                  <a:lnTo>
                    <a:pt x="743" y="80"/>
                  </a:lnTo>
                  <a:lnTo>
                    <a:pt x="743" y="100"/>
                  </a:lnTo>
                  <a:lnTo>
                    <a:pt x="743" y="121"/>
                  </a:lnTo>
                  <a:lnTo>
                    <a:pt x="731" y="137"/>
                  </a:lnTo>
                  <a:lnTo>
                    <a:pt x="727" y="141"/>
                  </a:lnTo>
                  <a:lnTo>
                    <a:pt x="723" y="157"/>
                  </a:lnTo>
                  <a:lnTo>
                    <a:pt x="719" y="173"/>
                  </a:lnTo>
                  <a:lnTo>
                    <a:pt x="719" y="177"/>
                  </a:lnTo>
                  <a:lnTo>
                    <a:pt x="719" y="189"/>
                  </a:lnTo>
                  <a:lnTo>
                    <a:pt x="731" y="205"/>
                  </a:lnTo>
                  <a:lnTo>
                    <a:pt x="747" y="222"/>
                  </a:lnTo>
                  <a:lnTo>
                    <a:pt x="755" y="226"/>
                  </a:lnTo>
                  <a:lnTo>
                    <a:pt x="767" y="230"/>
                  </a:lnTo>
                  <a:lnTo>
                    <a:pt x="775" y="238"/>
                  </a:lnTo>
                  <a:lnTo>
                    <a:pt x="779" y="250"/>
                  </a:lnTo>
                  <a:lnTo>
                    <a:pt x="779" y="270"/>
                  </a:lnTo>
                  <a:lnTo>
                    <a:pt x="783" y="290"/>
                  </a:lnTo>
                  <a:lnTo>
                    <a:pt x="771" y="298"/>
                  </a:lnTo>
                  <a:lnTo>
                    <a:pt x="763" y="310"/>
                  </a:lnTo>
                  <a:lnTo>
                    <a:pt x="747" y="318"/>
                  </a:lnTo>
                  <a:lnTo>
                    <a:pt x="739" y="326"/>
                  </a:lnTo>
                  <a:lnTo>
                    <a:pt x="739" y="330"/>
                  </a:lnTo>
                  <a:lnTo>
                    <a:pt x="731" y="334"/>
                  </a:lnTo>
                  <a:lnTo>
                    <a:pt x="719" y="343"/>
                  </a:lnTo>
                  <a:lnTo>
                    <a:pt x="698" y="359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698" y="391"/>
                  </a:lnTo>
                  <a:lnTo>
                    <a:pt x="698" y="411"/>
                  </a:lnTo>
                  <a:lnTo>
                    <a:pt x="710" y="415"/>
                  </a:lnTo>
                  <a:lnTo>
                    <a:pt x="723" y="423"/>
                  </a:lnTo>
                  <a:lnTo>
                    <a:pt x="731" y="447"/>
                  </a:lnTo>
                  <a:lnTo>
                    <a:pt x="747" y="476"/>
                  </a:lnTo>
                  <a:lnTo>
                    <a:pt x="755" y="480"/>
                  </a:lnTo>
                  <a:lnTo>
                    <a:pt x="775" y="484"/>
                  </a:lnTo>
                  <a:lnTo>
                    <a:pt x="803" y="484"/>
                  </a:lnTo>
                  <a:lnTo>
                    <a:pt x="840" y="484"/>
                  </a:lnTo>
                  <a:lnTo>
                    <a:pt x="868" y="492"/>
                  </a:lnTo>
                  <a:lnTo>
                    <a:pt x="904" y="496"/>
                  </a:lnTo>
                  <a:lnTo>
                    <a:pt x="908" y="500"/>
                  </a:lnTo>
                  <a:lnTo>
                    <a:pt x="912" y="504"/>
                  </a:lnTo>
                  <a:lnTo>
                    <a:pt x="912" y="536"/>
                  </a:lnTo>
                  <a:lnTo>
                    <a:pt x="916" y="568"/>
                  </a:lnTo>
                  <a:lnTo>
                    <a:pt x="920" y="577"/>
                  </a:lnTo>
                  <a:lnTo>
                    <a:pt x="924" y="585"/>
                  </a:lnTo>
                  <a:lnTo>
                    <a:pt x="948" y="613"/>
                  </a:lnTo>
                  <a:lnTo>
                    <a:pt x="973" y="637"/>
                  </a:lnTo>
                  <a:lnTo>
                    <a:pt x="977" y="641"/>
                  </a:lnTo>
                  <a:lnTo>
                    <a:pt x="977" y="653"/>
                  </a:lnTo>
                  <a:lnTo>
                    <a:pt x="989" y="661"/>
                  </a:lnTo>
                  <a:lnTo>
                    <a:pt x="993" y="669"/>
                  </a:lnTo>
                  <a:lnTo>
                    <a:pt x="1001" y="669"/>
                  </a:lnTo>
                  <a:lnTo>
                    <a:pt x="1013" y="669"/>
                  </a:lnTo>
                  <a:lnTo>
                    <a:pt x="1021" y="665"/>
                  </a:lnTo>
                  <a:lnTo>
                    <a:pt x="1025" y="661"/>
                  </a:lnTo>
                  <a:lnTo>
                    <a:pt x="1029" y="657"/>
                  </a:lnTo>
                  <a:lnTo>
                    <a:pt x="1037" y="649"/>
                  </a:lnTo>
                  <a:lnTo>
                    <a:pt x="1053" y="649"/>
                  </a:lnTo>
                  <a:lnTo>
                    <a:pt x="1074" y="649"/>
                  </a:lnTo>
                  <a:lnTo>
                    <a:pt x="1110" y="653"/>
                  </a:lnTo>
                  <a:lnTo>
                    <a:pt x="1142" y="657"/>
                  </a:lnTo>
                  <a:lnTo>
                    <a:pt x="1146" y="657"/>
                  </a:lnTo>
                  <a:lnTo>
                    <a:pt x="1150" y="661"/>
                  </a:lnTo>
                  <a:lnTo>
                    <a:pt x="1166" y="661"/>
                  </a:lnTo>
                  <a:lnTo>
                    <a:pt x="1178" y="661"/>
                  </a:lnTo>
                  <a:lnTo>
                    <a:pt x="1186" y="669"/>
                  </a:lnTo>
                  <a:lnTo>
                    <a:pt x="1186" y="677"/>
                  </a:lnTo>
                  <a:lnTo>
                    <a:pt x="1195" y="690"/>
                  </a:lnTo>
                  <a:lnTo>
                    <a:pt x="1199" y="698"/>
                  </a:lnTo>
                  <a:lnTo>
                    <a:pt x="1199" y="722"/>
                  </a:lnTo>
                  <a:lnTo>
                    <a:pt x="1203" y="738"/>
                  </a:lnTo>
                  <a:lnTo>
                    <a:pt x="1219" y="758"/>
                  </a:lnTo>
                  <a:lnTo>
                    <a:pt x="1231" y="762"/>
                  </a:lnTo>
                  <a:lnTo>
                    <a:pt x="1267" y="778"/>
                  </a:lnTo>
                  <a:lnTo>
                    <a:pt x="1308" y="794"/>
                  </a:lnTo>
                  <a:lnTo>
                    <a:pt x="1312" y="794"/>
                  </a:lnTo>
                  <a:lnTo>
                    <a:pt x="1316" y="798"/>
                  </a:lnTo>
                  <a:lnTo>
                    <a:pt x="1340" y="811"/>
                  </a:lnTo>
                  <a:lnTo>
                    <a:pt x="1356" y="811"/>
                  </a:lnTo>
                  <a:lnTo>
                    <a:pt x="1360" y="811"/>
                  </a:lnTo>
                  <a:lnTo>
                    <a:pt x="1368" y="802"/>
                  </a:lnTo>
                  <a:lnTo>
                    <a:pt x="1376" y="798"/>
                  </a:lnTo>
                  <a:lnTo>
                    <a:pt x="1388" y="794"/>
                  </a:lnTo>
                  <a:lnTo>
                    <a:pt x="1396" y="782"/>
                  </a:lnTo>
                  <a:lnTo>
                    <a:pt x="1400" y="774"/>
                  </a:lnTo>
                  <a:lnTo>
                    <a:pt x="1408" y="750"/>
                  </a:lnTo>
                  <a:lnTo>
                    <a:pt x="1412" y="726"/>
                  </a:lnTo>
                  <a:lnTo>
                    <a:pt x="1416" y="714"/>
                  </a:lnTo>
                  <a:lnTo>
                    <a:pt x="1425" y="710"/>
                  </a:lnTo>
                  <a:lnTo>
                    <a:pt x="1445" y="702"/>
                  </a:lnTo>
                  <a:lnTo>
                    <a:pt x="1469" y="698"/>
                  </a:lnTo>
                  <a:lnTo>
                    <a:pt x="1477" y="677"/>
                  </a:lnTo>
                  <a:lnTo>
                    <a:pt x="1489" y="665"/>
                  </a:lnTo>
                  <a:lnTo>
                    <a:pt x="1497" y="661"/>
                  </a:lnTo>
                  <a:lnTo>
                    <a:pt x="1501" y="657"/>
                  </a:lnTo>
                  <a:lnTo>
                    <a:pt x="1513" y="653"/>
                  </a:lnTo>
                  <a:lnTo>
                    <a:pt x="1533" y="653"/>
                  </a:lnTo>
                  <a:lnTo>
                    <a:pt x="1586" y="657"/>
                  </a:lnTo>
                  <a:lnTo>
                    <a:pt x="1602" y="661"/>
                  </a:lnTo>
                  <a:lnTo>
                    <a:pt x="1618" y="653"/>
                  </a:lnTo>
                  <a:lnTo>
                    <a:pt x="1626" y="641"/>
                  </a:lnTo>
                  <a:lnTo>
                    <a:pt x="1638" y="629"/>
                  </a:lnTo>
                  <a:lnTo>
                    <a:pt x="1646" y="621"/>
                  </a:lnTo>
                  <a:lnTo>
                    <a:pt x="1658" y="621"/>
                  </a:lnTo>
                  <a:lnTo>
                    <a:pt x="1683" y="625"/>
                  </a:lnTo>
                  <a:lnTo>
                    <a:pt x="1683" y="629"/>
                  </a:lnTo>
                  <a:lnTo>
                    <a:pt x="1703" y="629"/>
                  </a:lnTo>
                  <a:lnTo>
                    <a:pt x="1715" y="629"/>
                  </a:lnTo>
                  <a:lnTo>
                    <a:pt x="1727" y="621"/>
                  </a:lnTo>
                  <a:lnTo>
                    <a:pt x="1735" y="613"/>
                  </a:lnTo>
                  <a:lnTo>
                    <a:pt x="1743" y="597"/>
                  </a:lnTo>
                  <a:lnTo>
                    <a:pt x="1751" y="581"/>
                  </a:lnTo>
                  <a:lnTo>
                    <a:pt x="1763" y="581"/>
                  </a:lnTo>
                  <a:lnTo>
                    <a:pt x="1780" y="585"/>
                  </a:lnTo>
                  <a:lnTo>
                    <a:pt x="1792" y="597"/>
                  </a:lnTo>
                  <a:lnTo>
                    <a:pt x="1808" y="609"/>
                  </a:lnTo>
                  <a:lnTo>
                    <a:pt x="1808" y="625"/>
                  </a:lnTo>
                  <a:lnTo>
                    <a:pt x="1808" y="641"/>
                  </a:lnTo>
                  <a:lnTo>
                    <a:pt x="1800" y="669"/>
                  </a:lnTo>
                  <a:lnTo>
                    <a:pt x="1792" y="690"/>
                  </a:lnTo>
                  <a:lnTo>
                    <a:pt x="1780" y="702"/>
                  </a:lnTo>
                  <a:lnTo>
                    <a:pt x="1755" y="722"/>
                  </a:lnTo>
                  <a:lnTo>
                    <a:pt x="1743" y="722"/>
                  </a:lnTo>
                  <a:lnTo>
                    <a:pt x="1727" y="726"/>
                  </a:lnTo>
                  <a:lnTo>
                    <a:pt x="1719" y="726"/>
                  </a:lnTo>
                  <a:lnTo>
                    <a:pt x="1699" y="738"/>
                  </a:lnTo>
                  <a:lnTo>
                    <a:pt x="1691" y="750"/>
                  </a:lnTo>
                  <a:lnTo>
                    <a:pt x="1675" y="762"/>
                  </a:lnTo>
                  <a:lnTo>
                    <a:pt x="1646" y="762"/>
                  </a:lnTo>
                  <a:lnTo>
                    <a:pt x="1618" y="770"/>
                  </a:lnTo>
                  <a:lnTo>
                    <a:pt x="1602" y="778"/>
                  </a:lnTo>
                  <a:lnTo>
                    <a:pt x="1590" y="790"/>
                  </a:lnTo>
                  <a:lnTo>
                    <a:pt x="1586" y="802"/>
                  </a:lnTo>
                  <a:lnTo>
                    <a:pt x="1574" y="823"/>
                  </a:lnTo>
                  <a:lnTo>
                    <a:pt x="1566" y="831"/>
                  </a:lnTo>
                  <a:lnTo>
                    <a:pt x="1558" y="839"/>
                  </a:lnTo>
                  <a:lnTo>
                    <a:pt x="1533" y="839"/>
                  </a:lnTo>
                  <a:lnTo>
                    <a:pt x="1509" y="839"/>
                  </a:lnTo>
                  <a:lnTo>
                    <a:pt x="1489" y="851"/>
                  </a:lnTo>
                  <a:lnTo>
                    <a:pt x="1477" y="867"/>
                  </a:lnTo>
                  <a:lnTo>
                    <a:pt x="1477" y="871"/>
                  </a:lnTo>
                  <a:lnTo>
                    <a:pt x="1473" y="871"/>
                  </a:lnTo>
                  <a:lnTo>
                    <a:pt x="1457" y="891"/>
                  </a:lnTo>
                  <a:lnTo>
                    <a:pt x="1445" y="903"/>
                  </a:lnTo>
                  <a:lnTo>
                    <a:pt x="1437" y="903"/>
                  </a:lnTo>
                  <a:lnTo>
                    <a:pt x="1420" y="903"/>
                  </a:lnTo>
                  <a:lnTo>
                    <a:pt x="1412" y="895"/>
                  </a:lnTo>
                  <a:lnTo>
                    <a:pt x="1400" y="891"/>
                  </a:lnTo>
                  <a:lnTo>
                    <a:pt x="1380" y="891"/>
                  </a:lnTo>
                  <a:lnTo>
                    <a:pt x="1364" y="891"/>
                  </a:lnTo>
                  <a:lnTo>
                    <a:pt x="1360" y="883"/>
                  </a:lnTo>
                  <a:lnTo>
                    <a:pt x="1356" y="879"/>
                  </a:lnTo>
                  <a:lnTo>
                    <a:pt x="1348" y="867"/>
                  </a:lnTo>
                  <a:lnTo>
                    <a:pt x="1348" y="847"/>
                  </a:lnTo>
                  <a:lnTo>
                    <a:pt x="1344" y="843"/>
                  </a:lnTo>
                  <a:lnTo>
                    <a:pt x="1340" y="839"/>
                  </a:lnTo>
                  <a:lnTo>
                    <a:pt x="1279" y="823"/>
                  </a:lnTo>
                  <a:lnTo>
                    <a:pt x="1219" y="802"/>
                  </a:lnTo>
                  <a:lnTo>
                    <a:pt x="1207" y="802"/>
                  </a:lnTo>
                  <a:lnTo>
                    <a:pt x="1203" y="802"/>
                  </a:lnTo>
                  <a:lnTo>
                    <a:pt x="1195" y="811"/>
                  </a:lnTo>
                  <a:lnTo>
                    <a:pt x="1191" y="815"/>
                  </a:lnTo>
                  <a:lnTo>
                    <a:pt x="1186" y="827"/>
                  </a:lnTo>
                  <a:lnTo>
                    <a:pt x="1178" y="839"/>
                  </a:lnTo>
                  <a:lnTo>
                    <a:pt x="1178" y="843"/>
                  </a:lnTo>
                  <a:lnTo>
                    <a:pt x="1174" y="847"/>
                  </a:lnTo>
                  <a:lnTo>
                    <a:pt x="1150" y="859"/>
                  </a:lnTo>
                  <a:lnTo>
                    <a:pt x="1142" y="863"/>
                  </a:lnTo>
                  <a:lnTo>
                    <a:pt x="1126" y="867"/>
                  </a:lnTo>
                  <a:lnTo>
                    <a:pt x="1110" y="871"/>
                  </a:lnTo>
                  <a:lnTo>
                    <a:pt x="1106" y="875"/>
                  </a:lnTo>
                  <a:lnTo>
                    <a:pt x="1102" y="879"/>
                  </a:lnTo>
                  <a:lnTo>
                    <a:pt x="1102" y="928"/>
                  </a:lnTo>
                  <a:lnTo>
                    <a:pt x="1098" y="968"/>
                  </a:lnTo>
                  <a:lnTo>
                    <a:pt x="1090" y="980"/>
                  </a:lnTo>
                  <a:lnTo>
                    <a:pt x="1082" y="980"/>
                  </a:lnTo>
                  <a:lnTo>
                    <a:pt x="1057" y="992"/>
                  </a:lnTo>
                  <a:lnTo>
                    <a:pt x="1029" y="996"/>
                  </a:lnTo>
                  <a:lnTo>
                    <a:pt x="1013" y="1004"/>
                  </a:lnTo>
                  <a:lnTo>
                    <a:pt x="1001" y="1016"/>
                  </a:lnTo>
                  <a:lnTo>
                    <a:pt x="993" y="1016"/>
                  </a:lnTo>
                  <a:lnTo>
                    <a:pt x="989" y="1020"/>
                  </a:lnTo>
                  <a:lnTo>
                    <a:pt x="973" y="1016"/>
                  </a:lnTo>
                  <a:lnTo>
                    <a:pt x="961" y="1004"/>
                  </a:lnTo>
                  <a:lnTo>
                    <a:pt x="957" y="996"/>
                  </a:lnTo>
                  <a:lnTo>
                    <a:pt x="940" y="988"/>
                  </a:lnTo>
                  <a:lnTo>
                    <a:pt x="928" y="968"/>
                  </a:lnTo>
                  <a:lnTo>
                    <a:pt x="920" y="952"/>
                  </a:lnTo>
                  <a:lnTo>
                    <a:pt x="916" y="944"/>
                  </a:lnTo>
                  <a:lnTo>
                    <a:pt x="912" y="944"/>
                  </a:lnTo>
                  <a:lnTo>
                    <a:pt x="856" y="964"/>
                  </a:lnTo>
                  <a:lnTo>
                    <a:pt x="848" y="964"/>
                  </a:lnTo>
                  <a:lnTo>
                    <a:pt x="827" y="964"/>
                  </a:lnTo>
                  <a:lnTo>
                    <a:pt x="823" y="964"/>
                  </a:lnTo>
                  <a:lnTo>
                    <a:pt x="823" y="976"/>
                  </a:lnTo>
                  <a:lnTo>
                    <a:pt x="815" y="988"/>
                  </a:lnTo>
                  <a:lnTo>
                    <a:pt x="815" y="1020"/>
                  </a:lnTo>
                  <a:lnTo>
                    <a:pt x="815" y="1049"/>
                  </a:lnTo>
                  <a:lnTo>
                    <a:pt x="831" y="1061"/>
                  </a:lnTo>
                  <a:lnTo>
                    <a:pt x="848" y="1077"/>
                  </a:lnTo>
                  <a:lnTo>
                    <a:pt x="848" y="1085"/>
                  </a:lnTo>
                  <a:lnTo>
                    <a:pt x="848" y="1097"/>
                  </a:lnTo>
                  <a:lnTo>
                    <a:pt x="815" y="1129"/>
                  </a:lnTo>
                  <a:lnTo>
                    <a:pt x="783" y="1162"/>
                  </a:lnTo>
                  <a:lnTo>
                    <a:pt x="771" y="1166"/>
                  </a:lnTo>
                  <a:lnTo>
                    <a:pt x="763" y="1174"/>
                  </a:lnTo>
                  <a:lnTo>
                    <a:pt x="755" y="1170"/>
                  </a:lnTo>
                  <a:lnTo>
                    <a:pt x="751" y="117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ru-RU" sz="1300" b="1">
                <a:latin typeface="Calibri" pitchFamily="34" charset="0"/>
                <a:cs typeface="+mn-cs"/>
              </a:endParaRPr>
            </a:p>
          </p:txBody>
        </p:sp>
        <p:grpSp>
          <p:nvGrpSpPr>
            <p:cNvPr id="150" name="Group 62"/>
            <p:cNvGrpSpPr>
              <a:grpSpLocks/>
            </p:cNvGrpSpPr>
            <p:nvPr/>
          </p:nvGrpSpPr>
          <p:grpSpPr bwMode="auto">
            <a:xfrm>
              <a:off x="7891717" y="2557232"/>
              <a:ext cx="1057293" cy="1188477"/>
              <a:chOff x="19880" y="4917"/>
              <a:chExt cx="2531" cy="2871"/>
            </a:xfrm>
            <a:solidFill>
              <a:srgbClr val="FFFF99"/>
            </a:solidFill>
            <a:effectLst/>
          </p:grpSpPr>
          <p:sp>
            <p:nvSpPr>
              <p:cNvPr id="199" name="Freeform 63"/>
              <p:cNvSpPr>
                <a:spLocks/>
              </p:cNvSpPr>
              <p:nvPr/>
            </p:nvSpPr>
            <p:spPr bwMode="auto">
              <a:xfrm>
                <a:off x="19880" y="5186"/>
                <a:ext cx="2531" cy="2602"/>
              </a:xfrm>
              <a:custGeom>
                <a:avLst/>
                <a:gdLst/>
                <a:ahLst/>
                <a:cxnLst>
                  <a:cxn ang="0">
                    <a:pos x="609" y="1190"/>
                  </a:cxn>
                  <a:cxn ang="0">
                    <a:pos x="573" y="1170"/>
                  </a:cxn>
                  <a:cxn ang="0">
                    <a:pos x="544" y="1097"/>
                  </a:cxn>
                  <a:cxn ang="0">
                    <a:pos x="464" y="1077"/>
                  </a:cxn>
                  <a:cxn ang="0">
                    <a:pos x="411" y="1057"/>
                  </a:cxn>
                  <a:cxn ang="0">
                    <a:pos x="375" y="984"/>
                  </a:cxn>
                  <a:cxn ang="0">
                    <a:pos x="310" y="992"/>
                  </a:cxn>
                  <a:cxn ang="0">
                    <a:pos x="250" y="1041"/>
                  </a:cxn>
                  <a:cxn ang="0">
                    <a:pos x="198" y="1000"/>
                  </a:cxn>
                  <a:cxn ang="0">
                    <a:pos x="165" y="952"/>
                  </a:cxn>
                  <a:cxn ang="0">
                    <a:pos x="129" y="912"/>
                  </a:cxn>
                  <a:cxn ang="0">
                    <a:pos x="109" y="839"/>
                  </a:cxn>
                  <a:cxn ang="0">
                    <a:pos x="40" y="819"/>
                  </a:cxn>
                  <a:cxn ang="0">
                    <a:pos x="81" y="710"/>
                  </a:cxn>
                  <a:cxn ang="0">
                    <a:pos x="109" y="661"/>
                  </a:cxn>
                  <a:cxn ang="0">
                    <a:pos x="97" y="609"/>
                  </a:cxn>
                  <a:cxn ang="0">
                    <a:pos x="133" y="557"/>
                  </a:cxn>
                  <a:cxn ang="0">
                    <a:pos x="177" y="540"/>
                  </a:cxn>
                  <a:cxn ang="0">
                    <a:pos x="230" y="435"/>
                  </a:cxn>
                  <a:cxn ang="0">
                    <a:pos x="202" y="399"/>
                  </a:cxn>
                  <a:cxn ang="0">
                    <a:pos x="157" y="363"/>
                  </a:cxn>
                  <a:cxn ang="0">
                    <a:pos x="121" y="314"/>
                  </a:cxn>
                  <a:cxn ang="0">
                    <a:pos x="109" y="254"/>
                  </a:cxn>
                  <a:cxn ang="0">
                    <a:pos x="64" y="222"/>
                  </a:cxn>
                  <a:cxn ang="0">
                    <a:pos x="8" y="161"/>
                  </a:cxn>
                  <a:cxn ang="0">
                    <a:pos x="0" y="89"/>
                  </a:cxn>
                  <a:cxn ang="0">
                    <a:pos x="52" y="72"/>
                  </a:cxn>
                  <a:cxn ang="0">
                    <a:pos x="129" y="24"/>
                  </a:cxn>
                  <a:cxn ang="0">
                    <a:pos x="181" y="40"/>
                  </a:cxn>
                  <a:cxn ang="0">
                    <a:pos x="238" y="16"/>
                  </a:cxn>
                  <a:cxn ang="0">
                    <a:pos x="258" y="8"/>
                  </a:cxn>
                  <a:cxn ang="0">
                    <a:pos x="335" y="56"/>
                  </a:cxn>
                  <a:cxn ang="0">
                    <a:pos x="444" y="109"/>
                  </a:cxn>
                  <a:cxn ang="0">
                    <a:pos x="532" y="125"/>
                  </a:cxn>
                  <a:cxn ang="0">
                    <a:pos x="678" y="141"/>
                  </a:cxn>
                  <a:cxn ang="0">
                    <a:pos x="661" y="185"/>
                  </a:cxn>
                  <a:cxn ang="0">
                    <a:pos x="661" y="210"/>
                  </a:cxn>
                  <a:cxn ang="0">
                    <a:pos x="803" y="222"/>
                  </a:cxn>
                  <a:cxn ang="0">
                    <a:pos x="899" y="250"/>
                  </a:cxn>
                  <a:cxn ang="0">
                    <a:pos x="956" y="242"/>
                  </a:cxn>
                  <a:cxn ang="0">
                    <a:pos x="1000" y="278"/>
                  </a:cxn>
                  <a:cxn ang="0">
                    <a:pos x="1085" y="335"/>
                  </a:cxn>
                  <a:cxn ang="0">
                    <a:pos x="1162" y="387"/>
                  </a:cxn>
                  <a:cxn ang="0">
                    <a:pos x="1178" y="452"/>
                  </a:cxn>
                  <a:cxn ang="0">
                    <a:pos x="1109" y="544"/>
                  </a:cxn>
                  <a:cxn ang="0">
                    <a:pos x="1101" y="581"/>
                  </a:cxn>
                  <a:cxn ang="0">
                    <a:pos x="1041" y="617"/>
                  </a:cxn>
                  <a:cxn ang="0">
                    <a:pos x="960" y="742"/>
                  </a:cxn>
                  <a:cxn ang="0">
                    <a:pos x="916" y="791"/>
                  </a:cxn>
                  <a:cxn ang="0">
                    <a:pos x="883" y="827"/>
                  </a:cxn>
                  <a:cxn ang="0">
                    <a:pos x="851" y="883"/>
                  </a:cxn>
                  <a:cxn ang="0">
                    <a:pos x="855" y="928"/>
                  </a:cxn>
                  <a:cxn ang="0">
                    <a:pos x="791" y="1000"/>
                  </a:cxn>
                  <a:cxn ang="0">
                    <a:pos x="754" y="1049"/>
                  </a:cxn>
                  <a:cxn ang="0">
                    <a:pos x="734" y="1182"/>
                  </a:cxn>
                  <a:cxn ang="0">
                    <a:pos x="670" y="1202"/>
                  </a:cxn>
                </a:cxnLst>
                <a:rect l="0" t="0" r="r" b="b"/>
                <a:pathLst>
                  <a:path w="1178" h="1210">
                    <a:moveTo>
                      <a:pt x="649" y="1210"/>
                    </a:moveTo>
                    <a:lnTo>
                      <a:pt x="645" y="1202"/>
                    </a:lnTo>
                    <a:lnTo>
                      <a:pt x="637" y="1198"/>
                    </a:lnTo>
                    <a:lnTo>
                      <a:pt x="625" y="1194"/>
                    </a:lnTo>
                    <a:lnTo>
                      <a:pt x="609" y="1190"/>
                    </a:lnTo>
                    <a:lnTo>
                      <a:pt x="609" y="1190"/>
                    </a:lnTo>
                    <a:lnTo>
                      <a:pt x="597" y="1190"/>
                    </a:lnTo>
                    <a:lnTo>
                      <a:pt x="589" y="1182"/>
                    </a:lnTo>
                    <a:lnTo>
                      <a:pt x="577" y="1182"/>
                    </a:lnTo>
                    <a:lnTo>
                      <a:pt x="573" y="1170"/>
                    </a:lnTo>
                    <a:lnTo>
                      <a:pt x="565" y="1162"/>
                    </a:lnTo>
                    <a:lnTo>
                      <a:pt x="565" y="1142"/>
                    </a:lnTo>
                    <a:lnTo>
                      <a:pt x="561" y="1121"/>
                    </a:lnTo>
                    <a:lnTo>
                      <a:pt x="557" y="1105"/>
                    </a:lnTo>
                    <a:lnTo>
                      <a:pt x="544" y="1097"/>
                    </a:lnTo>
                    <a:lnTo>
                      <a:pt x="532" y="1089"/>
                    </a:lnTo>
                    <a:lnTo>
                      <a:pt x="512" y="1077"/>
                    </a:lnTo>
                    <a:lnTo>
                      <a:pt x="496" y="1077"/>
                    </a:lnTo>
                    <a:lnTo>
                      <a:pt x="476" y="1073"/>
                    </a:lnTo>
                    <a:lnTo>
                      <a:pt x="464" y="1077"/>
                    </a:lnTo>
                    <a:lnTo>
                      <a:pt x="460" y="1081"/>
                    </a:lnTo>
                    <a:lnTo>
                      <a:pt x="448" y="1081"/>
                    </a:lnTo>
                    <a:lnTo>
                      <a:pt x="432" y="1081"/>
                    </a:lnTo>
                    <a:lnTo>
                      <a:pt x="415" y="1069"/>
                    </a:lnTo>
                    <a:lnTo>
                      <a:pt x="411" y="1057"/>
                    </a:lnTo>
                    <a:lnTo>
                      <a:pt x="403" y="1033"/>
                    </a:lnTo>
                    <a:lnTo>
                      <a:pt x="399" y="1004"/>
                    </a:lnTo>
                    <a:lnTo>
                      <a:pt x="391" y="996"/>
                    </a:lnTo>
                    <a:lnTo>
                      <a:pt x="379" y="988"/>
                    </a:lnTo>
                    <a:lnTo>
                      <a:pt x="375" y="984"/>
                    </a:lnTo>
                    <a:lnTo>
                      <a:pt x="367" y="984"/>
                    </a:lnTo>
                    <a:lnTo>
                      <a:pt x="343" y="984"/>
                    </a:lnTo>
                    <a:lnTo>
                      <a:pt x="319" y="984"/>
                    </a:lnTo>
                    <a:lnTo>
                      <a:pt x="315" y="988"/>
                    </a:lnTo>
                    <a:lnTo>
                      <a:pt x="310" y="992"/>
                    </a:lnTo>
                    <a:lnTo>
                      <a:pt x="302" y="1000"/>
                    </a:lnTo>
                    <a:lnTo>
                      <a:pt x="286" y="1008"/>
                    </a:lnTo>
                    <a:lnTo>
                      <a:pt x="274" y="1025"/>
                    </a:lnTo>
                    <a:lnTo>
                      <a:pt x="262" y="1037"/>
                    </a:lnTo>
                    <a:lnTo>
                      <a:pt x="250" y="1041"/>
                    </a:lnTo>
                    <a:lnTo>
                      <a:pt x="230" y="1041"/>
                    </a:lnTo>
                    <a:lnTo>
                      <a:pt x="222" y="1029"/>
                    </a:lnTo>
                    <a:lnTo>
                      <a:pt x="206" y="1004"/>
                    </a:lnTo>
                    <a:lnTo>
                      <a:pt x="202" y="1004"/>
                    </a:lnTo>
                    <a:lnTo>
                      <a:pt x="198" y="1000"/>
                    </a:lnTo>
                    <a:lnTo>
                      <a:pt x="189" y="984"/>
                    </a:lnTo>
                    <a:lnTo>
                      <a:pt x="177" y="964"/>
                    </a:lnTo>
                    <a:lnTo>
                      <a:pt x="173" y="960"/>
                    </a:lnTo>
                    <a:lnTo>
                      <a:pt x="169" y="956"/>
                    </a:lnTo>
                    <a:lnTo>
                      <a:pt x="165" y="952"/>
                    </a:lnTo>
                    <a:lnTo>
                      <a:pt x="157" y="948"/>
                    </a:lnTo>
                    <a:lnTo>
                      <a:pt x="145" y="940"/>
                    </a:lnTo>
                    <a:lnTo>
                      <a:pt x="133" y="936"/>
                    </a:lnTo>
                    <a:lnTo>
                      <a:pt x="129" y="924"/>
                    </a:lnTo>
                    <a:lnTo>
                      <a:pt x="129" y="912"/>
                    </a:lnTo>
                    <a:lnTo>
                      <a:pt x="121" y="891"/>
                    </a:lnTo>
                    <a:lnTo>
                      <a:pt x="117" y="879"/>
                    </a:lnTo>
                    <a:lnTo>
                      <a:pt x="113" y="863"/>
                    </a:lnTo>
                    <a:lnTo>
                      <a:pt x="113" y="843"/>
                    </a:lnTo>
                    <a:lnTo>
                      <a:pt x="109" y="839"/>
                    </a:lnTo>
                    <a:lnTo>
                      <a:pt x="97" y="835"/>
                    </a:lnTo>
                    <a:lnTo>
                      <a:pt x="64" y="835"/>
                    </a:lnTo>
                    <a:lnTo>
                      <a:pt x="32" y="835"/>
                    </a:lnTo>
                    <a:lnTo>
                      <a:pt x="40" y="827"/>
                    </a:lnTo>
                    <a:lnTo>
                      <a:pt x="40" y="819"/>
                    </a:lnTo>
                    <a:lnTo>
                      <a:pt x="44" y="811"/>
                    </a:lnTo>
                    <a:lnTo>
                      <a:pt x="48" y="803"/>
                    </a:lnTo>
                    <a:lnTo>
                      <a:pt x="56" y="770"/>
                    </a:lnTo>
                    <a:lnTo>
                      <a:pt x="68" y="730"/>
                    </a:lnTo>
                    <a:lnTo>
                      <a:pt x="81" y="710"/>
                    </a:lnTo>
                    <a:lnTo>
                      <a:pt x="93" y="694"/>
                    </a:lnTo>
                    <a:lnTo>
                      <a:pt x="93" y="686"/>
                    </a:lnTo>
                    <a:lnTo>
                      <a:pt x="97" y="686"/>
                    </a:lnTo>
                    <a:lnTo>
                      <a:pt x="105" y="674"/>
                    </a:lnTo>
                    <a:lnTo>
                      <a:pt x="109" y="661"/>
                    </a:lnTo>
                    <a:lnTo>
                      <a:pt x="105" y="645"/>
                    </a:lnTo>
                    <a:lnTo>
                      <a:pt x="105" y="633"/>
                    </a:lnTo>
                    <a:lnTo>
                      <a:pt x="105" y="629"/>
                    </a:lnTo>
                    <a:lnTo>
                      <a:pt x="97" y="629"/>
                    </a:lnTo>
                    <a:lnTo>
                      <a:pt x="97" y="609"/>
                    </a:lnTo>
                    <a:lnTo>
                      <a:pt x="105" y="597"/>
                    </a:lnTo>
                    <a:lnTo>
                      <a:pt x="109" y="589"/>
                    </a:lnTo>
                    <a:lnTo>
                      <a:pt x="113" y="581"/>
                    </a:lnTo>
                    <a:lnTo>
                      <a:pt x="129" y="573"/>
                    </a:lnTo>
                    <a:lnTo>
                      <a:pt x="133" y="557"/>
                    </a:lnTo>
                    <a:lnTo>
                      <a:pt x="141" y="557"/>
                    </a:lnTo>
                    <a:lnTo>
                      <a:pt x="149" y="557"/>
                    </a:lnTo>
                    <a:lnTo>
                      <a:pt x="157" y="548"/>
                    </a:lnTo>
                    <a:lnTo>
                      <a:pt x="161" y="544"/>
                    </a:lnTo>
                    <a:lnTo>
                      <a:pt x="177" y="540"/>
                    </a:lnTo>
                    <a:lnTo>
                      <a:pt x="198" y="540"/>
                    </a:lnTo>
                    <a:lnTo>
                      <a:pt x="210" y="528"/>
                    </a:lnTo>
                    <a:lnTo>
                      <a:pt x="230" y="520"/>
                    </a:lnTo>
                    <a:lnTo>
                      <a:pt x="230" y="476"/>
                    </a:lnTo>
                    <a:lnTo>
                      <a:pt x="230" y="435"/>
                    </a:lnTo>
                    <a:lnTo>
                      <a:pt x="222" y="423"/>
                    </a:lnTo>
                    <a:lnTo>
                      <a:pt x="210" y="415"/>
                    </a:lnTo>
                    <a:lnTo>
                      <a:pt x="210" y="411"/>
                    </a:lnTo>
                    <a:lnTo>
                      <a:pt x="206" y="403"/>
                    </a:lnTo>
                    <a:lnTo>
                      <a:pt x="202" y="399"/>
                    </a:lnTo>
                    <a:lnTo>
                      <a:pt x="193" y="387"/>
                    </a:lnTo>
                    <a:lnTo>
                      <a:pt x="189" y="387"/>
                    </a:lnTo>
                    <a:lnTo>
                      <a:pt x="177" y="387"/>
                    </a:lnTo>
                    <a:lnTo>
                      <a:pt x="165" y="375"/>
                    </a:lnTo>
                    <a:lnTo>
                      <a:pt x="157" y="363"/>
                    </a:lnTo>
                    <a:lnTo>
                      <a:pt x="149" y="351"/>
                    </a:lnTo>
                    <a:lnTo>
                      <a:pt x="145" y="343"/>
                    </a:lnTo>
                    <a:lnTo>
                      <a:pt x="133" y="335"/>
                    </a:lnTo>
                    <a:lnTo>
                      <a:pt x="121" y="323"/>
                    </a:lnTo>
                    <a:lnTo>
                      <a:pt x="121" y="314"/>
                    </a:lnTo>
                    <a:lnTo>
                      <a:pt x="121" y="306"/>
                    </a:lnTo>
                    <a:lnTo>
                      <a:pt x="129" y="302"/>
                    </a:lnTo>
                    <a:lnTo>
                      <a:pt x="129" y="290"/>
                    </a:lnTo>
                    <a:lnTo>
                      <a:pt x="129" y="270"/>
                    </a:lnTo>
                    <a:lnTo>
                      <a:pt x="109" y="254"/>
                    </a:lnTo>
                    <a:lnTo>
                      <a:pt x="93" y="234"/>
                    </a:lnTo>
                    <a:lnTo>
                      <a:pt x="85" y="234"/>
                    </a:lnTo>
                    <a:lnTo>
                      <a:pt x="68" y="234"/>
                    </a:lnTo>
                    <a:lnTo>
                      <a:pt x="64" y="230"/>
                    </a:lnTo>
                    <a:lnTo>
                      <a:pt x="64" y="222"/>
                    </a:lnTo>
                    <a:lnTo>
                      <a:pt x="48" y="222"/>
                    </a:lnTo>
                    <a:lnTo>
                      <a:pt x="28" y="218"/>
                    </a:lnTo>
                    <a:lnTo>
                      <a:pt x="20" y="210"/>
                    </a:lnTo>
                    <a:lnTo>
                      <a:pt x="16" y="193"/>
                    </a:lnTo>
                    <a:lnTo>
                      <a:pt x="8" y="161"/>
                    </a:lnTo>
                    <a:lnTo>
                      <a:pt x="8" y="133"/>
                    </a:lnTo>
                    <a:lnTo>
                      <a:pt x="4" y="121"/>
                    </a:lnTo>
                    <a:lnTo>
                      <a:pt x="0" y="109"/>
                    </a:lnTo>
                    <a:lnTo>
                      <a:pt x="0" y="97"/>
                    </a:lnTo>
                    <a:lnTo>
                      <a:pt x="0" y="89"/>
                    </a:lnTo>
                    <a:lnTo>
                      <a:pt x="4" y="84"/>
                    </a:lnTo>
                    <a:lnTo>
                      <a:pt x="8" y="80"/>
                    </a:lnTo>
                    <a:lnTo>
                      <a:pt x="24" y="80"/>
                    </a:lnTo>
                    <a:lnTo>
                      <a:pt x="32" y="76"/>
                    </a:lnTo>
                    <a:lnTo>
                      <a:pt x="52" y="72"/>
                    </a:lnTo>
                    <a:lnTo>
                      <a:pt x="64" y="60"/>
                    </a:lnTo>
                    <a:lnTo>
                      <a:pt x="93" y="44"/>
                    </a:lnTo>
                    <a:lnTo>
                      <a:pt x="117" y="24"/>
                    </a:lnTo>
                    <a:lnTo>
                      <a:pt x="129" y="24"/>
                    </a:lnTo>
                    <a:lnTo>
                      <a:pt x="129" y="24"/>
                    </a:lnTo>
                    <a:lnTo>
                      <a:pt x="141" y="28"/>
                    </a:lnTo>
                    <a:lnTo>
                      <a:pt x="145" y="36"/>
                    </a:lnTo>
                    <a:lnTo>
                      <a:pt x="149" y="36"/>
                    </a:lnTo>
                    <a:lnTo>
                      <a:pt x="161" y="40"/>
                    </a:lnTo>
                    <a:lnTo>
                      <a:pt x="181" y="40"/>
                    </a:lnTo>
                    <a:lnTo>
                      <a:pt x="210" y="40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26" y="28"/>
                    </a:lnTo>
                    <a:lnTo>
                      <a:pt x="238" y="16"/>
                    </a:lnTo>
                    <a:lnTo>
                      <a:pt x="242" y="8"/>
                    </a:lnTo>
                    <a:lnTo>
                      <a:pt x="246" y="0"/>
                    </a:lnTo>
                    <a:lnTo>
                      <a:pt x="250" y="0"/>
                    </a:lnTo>
                    <a:lnTo>
                      <a:pt x="254" y="0"/>
                    </a:lnTo>
                    <a:lnTo>
                      <a:pt x="258" y="8"/>
                    </a:lnTo>
                    <a:lnTo>
                      <a:pt x="262" y="28"/>
                    </a:lnTo>
                    <a:lnTo>
                      <a:pt x="274" y="36"/>
                    </a:lnTo>
                    <a:lnTo>
                      <a:pt x="290" y="48"/>
                    </a:lnTo>
                    <a:lnTo>
                      <a:pt x="310" y="52"/>
                    </a:lnTo>
                    <a:lnTo>
                      <a:pt x="335" y="56"/>
                    </a:lnTo>
                    <a:lnTo>
                      <a:pt x="387" y="60"/>
                    </a:lnTo>
                    <a:lnTo>
                      <a:pt x="399" y="64"/>
                    </a:lnTo>
                    <a:lnTo>
                      <a:pt x="411" y="84"/>
                    </a:lnTo>
                    <a:lnTo>
                      <a:pt x="423" y="101"/>
                    </a:lnTo>
                    <a:lnTo>
                      <a:pt x="444" y="109"/>
                    </a:lnTo>
                    <a:lnTo>
                      <a:pt x="460" y="125"/>
                    </a:lnTo>
                    <a:lnTo>
                      <a:pt x="480" y="129"/>
                    </a:lnTo>
                    <a:lnTo>
                      <a:pt x="520" y="129"/>
                    </a:lnTo>
                    <a:lnTo>
                      <a:pt x="528" y="125"/>
                    </a:lnTo>
                    <a:lnTo>
                      <a:pt x="532" y="125"/>
                    </a:lnTo>
                    <a:lnTo>
                      <a:pt x="540" y="125"/>
                    </a:lnTo>
                    <a:lnTo>
                      <a:pt x="565" y="133"/>
                    </a:lnTo>
                    <a:lnTo>
                      <a:pt x="589" y="141"/>
                    </a:lnTo>
                    <a:lnTo>
                      <a:pt x="661" y="137"/>
                    </a:lnTo>
                    <a:lnTo>
                      <a:pt x="678" y="141"/>
                    </a:lnTo>
                    <a:lnTo>
                      <a:pt x="678" y="145"/>
                    </a:lnTo>
                    <a:lnTo>
                      <a:pt x="682" y="157"/>
                    </a:lnTo>
                    <a:lnTo>
                      <a:pt x="674" y="169"/>
                    </a:lnTo>
                    <a:lnTo>
                      <a:pt x="661" y="181"/>
                    </a:lnTo>
                    <a:lnTo>
                      <a:pt x="661" y="185"/>
                    </a:lnTo>
                    <a:lnTo>
                      <a:pt x="657" y="185"/>
                    </a:lnTo>
                    <a:lnTo>
                      <a:pt x="657" y="193"/>
                    </a:lnTo>
                    <a:lnTo>
                      <a:pt x="653" y="197"/>
                    </a:lnTo>
                    <a:lnTo>
                      <a:pt x="657" y="206"/>
                    </a:lnTo>
                    <a:lnTo>
                      <a:pt x="661" y="210"/>
                    </a:lnTo>
                    <a:lnTo>
                      <a:pt x="710" y="210"/>
                    </a:lnTo>
                    <a:lnTo>
                      <a:pt x="738" y="214"/>
                    </a:lnTo>
                    <a:lnTo>
                      <a:pt x="750" y="214"/>
                    </a:lnTo>
                    <a:lnTo>
                      <a:pt x="762" y="218"/>
                    </a:lnTo>
                    <a:lnTo>
                      <a:pt x="803" y="222"/>
                    </a:lnTo>
                    <a:lnTo>
                      <a:pt x="851" y="222"/>
                    </a:lnTo>
                    <a:lnTo>
                      <a:pt x="867" y="234"/>
                    </a:lnTo>
                    <a:lnTo>
                      <a:pt x="867" y="234"/>
                    </a:lnTo>
                    <a:lnTo>
                      <a:pt x="883" y="246"/>
                    </a:lnTo>
                    <a:lnTo>
                      <a:pt x="899" y="250"/>
                    </a:lnTo>
                    <a:lnTo>
                      <a:pt x="904" y="250"/>
                    </a:lnTo>
                    <a:lnTo>
                      <a:pt x="908" y="250"/>
                    </a:lnTo>
                    <a:lnTo>
                      <a:pt x="916" y="250"/>
                    </a:lnTo>
                    <a:lnTo>
                      <a:pt x="928" y="246"/>
                    </a:lnTo>
                    <a:lnTo>
                      <a:pt x="956" y="242"/>
                    </a:lnTo>
                    <a:lnTo>
                      <a:pt x="976" y="242"/>
                    </a:lnTo>
                    <a:lnTo>
                      <a:pt x="988" y="250"/>
                    </a:lnTo>
                    <a:lnTo>
                      <a:pt x="996" y="258"/>
                    </a:lnTo>
                    <a:lnTo>
                      <a:pt x="996" y="270"/>
                    </a:lnTo>
                    <a:lnTo>
                      <a:pt x="1000" y="278"/>
                    </a:lnTo>
                    <a:lnTo>
                      <a:pt x="1008" y="282"/>
                    </a:lnTo>
                    <a:lnTo>
                      <a:pt x="1012" y="290"/>
                    </a:lnTo>
                    <a:lnTo>
                      <a:pt x="1041" y="302"/>
                    </a:lnTo>
                    <a:lnTo>
                      <a:pt x="1069" y="323"/>
                    </a:lnTo>
                    <a:lnTo>
                      <a:pt x="1085" y="335"/>
                    </a:lnTo>
                    <a:lnTo>
                      <a:pt x="1097" y="351"/>
                    </a:lnTo>
                    <a:lnTo>
                      <a:pt x="1125" y="355"/>
                    </a:lnTo>
                    <a:lnTo>
                      <a:pt x="1142" y="363"/>
                    </a:lnTo>
                    <a:lnTo>
                      <a:pt x="1154" y="379"/>
                    </a:lnTo>
                    <a:lnTo>
                      <a:pt x="1162" y="387"/>
                    </a:lnTo>
                    <a:lnTo>
                      <a:pt x="1162" y="391"/>
                    </a:lnTo>
                    <a:lnTo>
                      <a:pt x="1166" y="391"/>
                    </a:lnTo>
                    <a:lnTo>
                      <a:pt x="1174" y="427"/>
                    </a:lnTo>
                    <a:lnTo>
                      <a:pt x="1178" y="435"/>
                    </a:lnTo>
                    <a:lnTo>
                      <a:pt x="1178" y="452"/>
                    </a:lnTo>
                    <a:lnTo>
                      <a:pt x="1178" y="464"/>
                    </a:lnTo>
                    <a:lnTo>
                      <a:pt x="1166" y="484"/>
                    </a:lnTo>
                    <a:lnTo>
                      <a:pt x="1154" y="488"/>
                    </a:lnTo>
                    <a:lnTo>
                      <a:pt x="1121" y="532"/>
                    </a:lnTo>
                    <a:lnTo>
                      <a:pt x="1109" y="544"/>
                    </a:lnTo>
                    <a:lnTo>
                      <a:pt x="1109" y="548"/>
                    </a:lnTo>
                    <a:lnTo>
                      <a:pt x="1105" y="557"/>
                    </a:lnTo>
                    <a:lnTo>
                      <a:pt x="1105" y="561"/>
                    </a:lnTo>
                    <a:lnTo>
                      <a:pt x="1101" y="561"/>
                    </a:lnTo>
                    <a:lnTo>
                      <a:pt x="1101" y="581"/>
                    </a:lnTo>
                    <a:lnTo>
                      <a:pt x="1097" y="593"/>
                    </a:lnTo>
                    <a:lnTo>
                      <a:pt x="1089" y="597"/>
                    </a:lnTo>
                    <a:lnTo>
                      <a:pt x="1089" y="601"/>
                    </a:lnTo>
                    <a:lnTo>
                      <a:pt x="1069" y="605"/>
                    </a:lnTo>
                    <a:lnTo>
                      <a:pt x="1041" y="617"/>
                    </a:lnTo>
                    <a:lnTo>
                      <a:pt x="1025" y="633"/>
                    </a:lnTo>
                    <a:lnTo>
                      <a:pt x="1012" y="657"/>
                    </a:lnTo>
                    <a:lnTo>
                      <a:pt x="988" y="698"/>
                    </a:lnTo>
                    <a:lnTo>
                      <a:pt x="972" y="722"/>
                    </a:lnTo>
                    <a:lnTo>
                      <a:pt x="960" y="742"/>
                    </a:lnTo>
                    <a:lnTo>
                      <a:pt x="948" y="754"/>
                    </a:lnTo>
                    <a:lnTo>
                      <a:pt x="936" y="770"/>
                    </a:lnTo>
                    <a:lnTo>
                      <a:pt x="920" y="778"/>
                    </a:lnTo>
                    <a:lnTo>
                      <a:pt x="916" y="786"/>
                    </a:lnTo>
                    <a:lnTo>
                      <a:pt x="916" y="791"/>
                    </a:lnTo>
                    <a:lnTo>
                      <a:pt x="904" y="803"/>
                    </a:lnTo>
                    <a:lnTo>
                      <a:pt x="895" y="811"/>
                    </a:lnTo>
                    <a:lnTo>
                      <a:pt x="891" y="819"/>
                    </a:lnTo>
                    <a:lnTo>
                      <a:pt x="891" y="823"/>
                    </a:lnTo>
                    <a:lnTo>
                      <a:pt x="883" y="827"/>
                    </a:lnTo>
                    <a:lnTo>
                      <a:pt x="875" y="831"/>
                    </a:lnTo>
                    <a:lnTo>
                      <a:pt x="867" y="835"/>
                    </a:lnTo>
                    <a:lnTo>
                      <a:pt x="863" y="843"/>
                    </a:lnTo>
                    <a:lnTo>
                      <a:pt x="855" y="871"/>
                    </a:lnTo>
                    <a:lnTo>
                      <a:pt x="851" y="883"/>
                    </a:lnTo>
                    <a:lnTo>
                      <a:pt x="851" y="891"/>
                    </a:lnTo>
                    <a:lnTo>
                      <a:pt x="851" y="903"/>
                    </a:lnTo>
                    <a:lnTo>
                      <a:pt x="851" y="912"/>
                    </a:lnTo>
                    <a:lnTo>
                      <a:pt x="855" y="916"/>
                    </a:lnTo>
                    <a:lnTo>
                      <a:pt x="855" y="928"/>
                    </a:lnTo>
                    <a:lnTo>
                      <a:pt x="855" y="940"/>
                    </a:lnTo>
                    <a:lnTo>
                      <a:pt x="827" y="960"/>
                    </a:lnTo>
                    <a:lnTo>
                      <a:pt x="799" y="976"/>
                    </a:lnTo>
                    <a:lnTo>
                      <a:pt x="795" y="988"/>
                    </a:lnTo>
                    <a:lnTo>
                      <a:pt x="791" y="1000"/>
                    </a:lnTo>
                    <a:lnTo>
                      <a:pt x="787" y="1000"/>
                    </a:lnTo>
                    <a:lnTo>
                      <a:pt x="774" y="1004"/>
                    </a:lnTo>
                    <a:lnTo>
                      <a:pt x="766" y="1025"/>
                    </a:lnTo>
                    <a:lnTo>
                      <a:pt x="758" y="1045"/>
                    </a:lnTo>
                    <a:lnTo>
                      <a:pt x="754" y="1049"/>
                    </a:lnTo>
                    <a:lnTo>
                      <a:pt x="754" y="1093"/>
                    </a:lnTo>
                    <a:lnTo>
                      <a:pt x="754" y="1142"/>
                    </a:lnTo>
                    <a:lnTo>
                      <a:pt x="742" y="1158"/>
                    </a:lnTo>
                    <a:lnTo>
                      <a:pt x="738" y="1182"/>
                    </a:lnTo>
                    <a:lnTo>
                      <a:pt x="734" y="1182"/>
                    </a:lnTo>
                    <a:lnTo>
                      <a:pt x="726" y="1190"/>
                    </a:lnTo>
                    <a:lnTo>
                      <a:pt x="710" y="1194"/>
                    </a:lnTo>
                    <a:lnTo>
                      <a:pt x="686" y="1194"/>
                    </a:lnTo>
                    <a:lnTo>
                      <a:pt x="678" y="1198"/>
                    </a:lnTo>
                    <a:lnTo>
                      <a:pt x="670" y="1202"/>
                    </a:lnTo>
                    <a:lnTo>
                      <a:pt x="670" y="1206"/>
                    </a:lnTo>
                    <a:lnTo>
                      <a:pt x="661" y="1210"/>
                    </a:lnTo>
                    <a:lnTo>
                      <a:pt x="657" y="1210"/>
                    </a:lnTo>
                    <a:lnTo>
                      <a:pt x="649" y="121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ru-RU" sz="1300"/>
              </a:p>
            </p:txBody>
          </p:sp>
          <p:grpSp>
            <p:nvGrpSpPr>
              <p:cNvPr id="200" name="Group 64"/>
              <p:cNvGrpSpPr>
                <a:grpSpLocks/>
              </p:cNvGrpSpPr>
              <p:nvPr/>
            </p:nvGrpSpPr>
            <p:grpSpPr bwMode="auto">
              <a:xfrm>
                <a:off x="20729" y="4917"/>
                <a:ext cx="651" cy="269"/>
                <a:chOff x="20729" y="4917"/>
                <a:chExt cx="651" cy="269"/>
              </a:xfrm>
              <a:grpFill/>
            </p:grpSpPr>
            <p:sp>
              <p:nvSpPr>
                <p:cNvPr id="201" name="Freeform 65"/>
                <p:cNvSpPr>
                  <a:spLocks/>
                </p:cNvSpPr>
                <p:nvPr/>
              </p:nvSpPr>
              <p:spPr bwMode="auto">
                <a:xfrm>
                  <a:off x="21111" y="5038"/>
                  <a:ext cx="269" cy="148"/>
                </a:xfrm>
                <a:custGeom>
                  <a:avLst/>
                  <a:gdLst/>
                  <a:ahLst/>
                  <a:cxnLst>
                    <a:cxn ang="0">
                      <a:pos x="121" y="69"/>
                    </a:cxn>
                    <a:cxn ang="0">
                      <a:pos x="101" y="57"/>
                    </a:cxn>
                    <a:cxn ang="0">
                      <a:pos x="80" y="45"/>
                    </a:cxn>
                    <a:cxn ang="0">
                      <a:pos x="44" y="32"/>
                    </a:cxn>
                    <a:cxn ang="0">
                      <a:pos x="16" y="28"/>
                    </a:cxn>
                    <a:cxn ang="0">
                      <a:pos x="8" y="16"/>
                    </a:cxn>
                    <a:cxn ang="0">
                      <a:pos x="0" y="8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6" y="0"/>
                    </a:cxn>
                    <a:cxn ang="0">
                      <a:pos x="24" y="0"/>
                    </a:cxn>
                    <a:cxn ang="0">
                      <a:pos x="36" y="0"/>
                    </a:cxn>
                    <a:cxn ang="0">
                      <a:pos x="56" y="8"/>
                    </a:cxn>
                    <a:cxn ang="0">
                      <a:pos x="64" y="8"/>
                    </a:cxn>
                    <a:cxn ang="0">
                      <a:pos x="68" y="16"/>
                    </a:cxn>
                    <a:cxn ang="0">
                      <a:pos x="97" y="28"/>
                    </a:cxn>
                    <a:cxn ang="0">
                      <a:pos x="113" y="32"/>
                    </a:cxn>
                    <a:cxn ang="0">
                      <a:pos x="113" y="45"/>
                    </a:cxn>
                    <a:cxn ang="0">
                      <a:pos x="117" y="45"/>
                    </a:cxn>
                    <a:cxn ang="0">
                      <a:pos x="121" y="49"/>
                    </a:cxn>
                    <a:cxn ang="0">
                      <a:pos x="125" y="61"/>
                    </a:cxn>
                    <a:cxn ang="0">
                      <a:pos x="125" y="65"/>
                    </a:cxn>
                    <a:cxn ang="0">
                      <a:pos x="125" y="69"/>
                    </a:cxn>
                    <a:cxn ang="0">
                      <a:pos x="121" y="69"/>
                    </a:cxn>
                  </a:cxnLst>
                  <a:rect l="0" t="0" r="r" b="b"/>
                  <a:pathLst>
                    <a:path w="125" h="69">
                      <a:moveTo>
                        <a:pt x="121" y="69"/>
                      </a:moveTo>
                      <a:lnTo>
                        <a:pt x="101" y="57"/>
                      </a:lnTo>
                      <a:lnTo>
                        <a:pt x="80" y="45"/>
                      </a:lnTo>
                      <a:lnTo>
                        <a:pt x="44" y="32"/>
                      </a:lnTo>
                      <a:lnTo>
                        <a:pt x="16" y="28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16" y="0"/>
                      </a:lnTo>
                      <a:lnTo>
                        <a:pt x="24" y="0"/>
                      </a:lnTo>
                      <a:lnTo>
                        <a:pt x="36" y="0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68" y="16"/>
                      </a:lnTo>
                      <a:lnTo>
                        <a:pt x="97" y="28"/>
                      </a:lnTo>
                      <a:lnTo>
                        <a:pt x="113" y="32"/>
                      </a:lnTo>
                      <a:lnTo>
                        <a:pt x="113" y="45"/>
                      </a:lnTo>
                      <a:lnTo>
                        <a:pt x="117" y="45"/>
                      </a:lnTo>
                      <a:lnTo>
                        <a:pt x="121" y="49"/>
                      </a:lnTo>
                      <a:lnTo>
                        <a:pt x="125" y="61"/>
                      </a:lnTo>
                      <a:lnTo>
                        <a:pt x="125" y="65"/>
                      </a:lnTo>
                      <a:lnTo>
                        <a:pt x="125" y="69"/>
                      </a:lnTo>
                      <a:lnTo>
                        <a:pt x="121" y="6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1300" b="1">
                    <a:latin typeface="+mn-lt"/>
                    <a:cs typeface="+mn-cs"/>
                  </a:endParaRPr>
                </a:p>
              </p:txBody>
            </p:sp>
            <p:sp>
              <p:nvSpPr>
                <p:cNvPr id="202" name="Freeform 66"/>
                <p:cNvSpPr>
                  <a:spLocks/>
                </p:cNvSpPr>
                <p:nvPr/>
              </p:nvSpPr>
              <p:spPr bwMode="auto">
                <a:xfrm>
                  <a:off x="20729" y="4917"/>
                  <a:ext cx="268" cy="218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45" y="68"/>
                    </a:cxn>
                    <a:cxn ang="0">
                      <a:pos x="16" y="36"/>
                    </a:cxn>
                    <a:cxn ang="0">
                      <a:pos x="8" y="36"/>
                    </a:cxn>
                    <a:cxn ang="0">
                      <a:pos x="0" y="36"/>
                    </a:cxn>
                    <a:cxn ang="0">
                      <a:pos x="0" y="28"/>
                    </a:cxn>
                    <a:cxn ang="0">
                      <a:pos x="0" y="20"/>
                    </a:cxn>
                    <a:cxn ang="0">
                      <a:pos x="8" y="12"/>
                    </a:cxn>
                    <a:cxn ang="0">
                      <a:pos x="20" y="0"/>
                    </a:cxn>
                    <a:cxn ang="0">
                      <a:pos x="37" y="0"/>
                    </a:cxn>
                    <a:cxn ang="0">
                      <a:pos x="57" y="0"/>
                    </a:cxn>
                    <a:cxn ang="0">
                      <a:pos x="69" y="12"/>
                    </a:cxn>
                    <a:cxn ang="0">
                      <a:pos x="117" y="36"/>
                    </a:cxn>
                    <a:cxn ang="0">
                      <a:pos x="121" y="40"/>
                    </a:cxn>
                    <a:cxn ang="0">
                      <a:pos x="125" y="44"/>
                    </a:cxn>
                    <a:cxn ang="0">
                      <a:pos x="109" y="56"/>
                    </a:cxn>
                    <a:cxn ang="0">
                      <a:pos x="97" y="68"/>
                    </a:cxn>
                    <a:cxn ang="0">
                      <a:pos x="97" y="76"/>
                    </a:cxn>
                    <a:cxn ang="0">
                      <a:pos x="89" y="84"/>
                    </a:cxn>
                    <a:cxn ang="0">
                      <a:pos x="85" y="92"/>
                    </a:cxn>
                    <a:cxn ang="0">
                      <a:pos x="73" y="101"/>
                    </a:cxn>
                    <a:cxn ang="0">
                      <a:pos x="69" y="101"/>
                    </a:cxn>
                  </a:cxnLst>
                  <a:rect l="0" t="0" r="r" b="b"/>
                  <a:pathLst>
                    <a:path w="125" h="101">
                      <a:moveTo>
                        <a:pt x="69" y="101"/>
                      </a:moveTo>
                      <a:lnTo>
                        <a:pt x="45" y="68"/>
                      </a:lnTo>
                      <a:lnTo>
                        <a:pt x="16" y="36"/>
                      </a:lnTo>
                      <a:lnTo>
                        <a:pt x="8" y="36"/>
                      </a:lnTo>
                      <a:lnTo>
                        <a:pt x="0" y="36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8" y="12"/>
                      </a:lnTo>
                      <a:lnTo>
                        <a:pt x="20" y="0"/>
                      </a:lnTo>
                      <a:lnTo>
                        <a:pt x="37" y="0"/>
                      </a:lnTo>
                      <a:lnTo>
                        <a:pt x="57" y="0"/>
                      </a:lnTo>
                      <a:lnTo>
                        <a:pt x="69" y="12"/>
                      </a:lnTo>
                      <a:lnTo>
                        <a:pt x="117" y="36"/>
                      </a:lnTo>
                      <a:lnTo>
                        <a:pt x="121" y="40"/>
                      </a:lnTo>
                      <a:lnTo>
                        <a:pt x="125" y="44"/>
                      </a:lnTo>
                      <a:lnTo>
                        <a:pt x="109" y="56"/>
                      </a:lnTo>
                      <a:lnTo>
                        <a:pt x="97" y="68"/>
                      </a:lnTo>
                      <a:lnTo>
                        <a:pt x="97" y="76"/>
                      </a:lnTo>
                      <a:lnTo>
                        <a:pt x="89" y="84"/>
                      </a:lnTo>
                      <a:lnTo>
                        <a:pt x="85" y="92"/>
                      </a:lnTo>
                      <a:lnTo>
                        <a:pt x="73" y="101"/>
                      </a:lnTo>
                      <a:lnTo>
                        <a:pt x="69" y="101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>
                  <a:defPPr>
                    <a:defRPr lang="ru-RU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1300" b="1">
                    <a:latin typeface="+mn-lt"/>
                    <a:cs typeface="+mn-cs"/>
                  </a:endParaRPr>
                </a:p>
              </p:txBody>
            </p:sp>
          </p:grpSp>
        </p:grpSp>
        <p:sp>
          <p:nvSpPr>
            <p:cNvPr id="151" name="Freeform 67"/>
            <p:cNvSpPr>
              <a:spLocks/>
            </p:cNvSpPr>
            <p:nvPr/>
          </p:nvSpPr>
          <p:spPr bwMode="auto">
            <a:xfrm>
              <a:off x="3162384" y="1337176"/>
              <a:ext cx="892175" cy="1292248"/>
            </a:xfrm>
            <a:custGeom>
              <a:avLst/>
              <a:gdLst>
                <a:gd name="T0" fmla="*/ 397160745 w 993"/>
                <a:gd name="T1" fmla="*/ 1084273325 h 1452"/>
                <a:gd name="T2" fmla="*/ 335810926 w 993"/>
                <a:gd name="T3" fmla="*/ 1050863934 h 1452"/>
                <a:gd name="T4" fmla="*/ 263967047 w 993"/>
                <a:gd name="T5" fmla="*/ 1072124614 h 1452"/>
                <a:gd name="T6" fmla="*/ 238135308 w 993"/>
                <a:gd name="T7" fmla="*/ 1047827192 h 1452"/>
                <a:gd name="T8" fmla="*/ 212303512 w 993"/>
                <a:gd name="T9" fmla="*/ 974175959 h 1452"/>
                <a:gd name="T10" fmla="*/ 198580373 w 993"/>
                <a:gd name="T11" fmla="*/ 930895631 h 1452"/>
                <a:gd name="T12" fmla="*/ 198580373 w 993"/>
                <a:gd name="T13" fmla="*/ 829909145 h 1452"/>
                <a:gd name="T14" fmla="*/ 182435873 w 993"/>
                <a:gd name="T15" fmla="*/ 766128848 h 1452"/>
                <a:gd name="T16" fmla="*/ 124315133 w 993"/>
                <a:gd name="T17" fmla="*/ 781314301 h 1452"/>
                <a:gd name="T18" fmla="*/ 52470313 w 993"/>
                <a:gd name="T19" fmla="*/ 728922876 h 1452"/>
                <a:gd name="T20" fmla="*/ 33096733 w 993"/>
                <a:gd name="T21" fmla="*/ 738034845 h 1452"/>
                <a:gd name="T22" fmla="*/ 91217487 w 993"/>
                <a:gd name="T23" fmla="*/ 670457095 h 1452"/>
                <a:gd name="T24" fmla="*/ 52470313 w 993"/>
                <a:gd name="T25" fmla="*/ 627936607 h 1452"/>
                <a:gd name="T26" fmla="*/ 0 w 993"/>
                <a:gd name="T27" fmla="*/ 627936607 h 1452"/>
                <a:gd name="T28" fmla="*/ 121086053 w 993"/>
                <a:gd name="T29" fmla="*/ 578582795 h 1452"/>
                <a:gd name="T30" fmla="*/ 166291372 w 993"/>
                <a:gd name="T31" fmla="*/ 551248631 h 1452"/>
                <a:gd name="T32" fmla="*/ 146917793 w 993"/>
                <a:gd name="T33" fmla="*/ 511764885 h 1452"/>
                <a:gd name="T34" fmla="*/ 117856974 w 993"/>
                <a:gd name="T35" fmla="*/ 447224640 h 1452"/>
                <a:gd name="T36" fmla="*/ 127543314 w 993"/>
                <a:gd name="T37" fmla="*/ 358387082 h 1452"/>
                <a:gd name="T38" fmla="*/ 94446567 w 993"/>
                <a:gd name="T39" fmla="*/ 318144368 h 1452"/>
                <a:gd name="T40" fmla="*/ 68614827 w 993"/>
                <a:gd name="T41" fmla="*/ 245252103 h 1452"/>
                <a:gd name="T42" fmla="*/ 52470313 w 993"/>
                <a:gd name="T43" fmla="*/ 144265779 h 1452"/>
                <a:gd name="T44" fmla="*/ 49241234 w 993"/>
                <a:gd name="T45" fmla="*/ 76688874 h 1452"/>
                <a:gd name="T46" fmla="*/ 75072987 w 993"/>
                <a:gd name="T47" fmla="*/ 36446147 h 1452"/>
                <a:gd name="T48" fmla="*/ 143688713 w 993"/>
                <a:gd name="T49" fmla="*/ 9111972 h 1452"/>
                <a:gd name="T50" fmla="*/ 228448012 w 993"/>
                <a:gd name="T51" fmla="*/ 0 h 1452"/>
                <a:gd name="T52" fmla="*/ 293027866 w 993"/>
                <a:gd name="T53" fmla="*/ 67576905 h 1452"/>
                <a:gd name="T54" fmla="*/ 247822547 w 993"/>
                <a:gd name="T55" fmla="*/ 82763230 h 1452"/>
                <a:gd name="T56" fmla="*/ 241364387 w 993"/>
                <a:gd name="T57" fmla="*/ 125283745 h 1452"/>
                <a:gd name="T58" fmla="*/ 280111547 w 993"/>
                <a:gd name="T59" fmla="*/ 147303393 h 1452"/>
                <a:gd name="T60" fmla="*/ 342269086 w 993"/>
                <a:gd name="T61" fmla="*/ 189823881 h 1452"/>
                <a:gd name="T62" fmla="*/ 414112965 w 993"/>
                <a:gd name="T63" fmla="*/ 134394843 h 1452"/>
                <a:gd name="T64" fmla="*/ 430258363 w 993"/>
                <a:gd name="T65" fmla="*/ 82763230 h 1452"/>
                <a:gd name="T66" fmla="*/ 465776443 w 993"/>
                <a:gd name="T67" fmla="*/ 79725616 h 1452"/>
                <a:gd name="T68" fmla="*/ 452861023 w 993"/>
                <a:gd name="T69" fmla="*/ 116171776 h 1452"/>
                <a:gd name="T70" fmla="*/ 446402864 w 993"/>
                <a:gd name="T71" fmla="*/ 162488846 h 1452"/>
                <a:gd name="T72" fmla="*/ 475463795 w 993"/>
                <a:gd name="T73" fmla="*/ 180711912 h 1452"/>
                <a:gd name="T74" fmla="*/ 550536754 w 993"/>
                <a:gd name="T75" fmla="*/ 144265779 h 1452"/>
                <a:gd name="T76" fmla="*/ 553765833 w 993"/>
                <a:gd name="T77" fmla="*/ 217158045 h 1452"/>
                <a:gd name="T78" fmla="*/ 521475935 w 993"/>
                <a:gd name="T79" fmla="*/ 281698236 h 1452"/>
                <a:gd name="T80" fmla="*/ 456089204 w 993"/>
                <a:gd name="T81" fmla="*/ 312070013 h 1452"/>
                <a:gd name="T82" fmla="*/ 423800204 w 993"/>
                <a:gd name="T83" fmla="*/ 373573407 h 1452"/>
                <a:gd name="T84" fmla="*/ 481921056 w 993"/>
                <a:gd name="T85" fmla="*/ 385722118 h 1452"/>
                <a:gd name="T86" fmla="*/ 531163174 w 993"/>
                <a:gd name="T87" fmla="*/ 441150285 h 1452"/>
                <a:gd name="T88" fmla="*/ 632067872 w 993"/>
                <a:gd name="T89" fmla="*/ 474559785 h 1452"/>
                <a:gd name="T90" fmla="*/ 657898713 w 993"/>
                <a:gd name="T91" fmla="*/ 526950338 h 1452"/>
                <a:gd name="T92" fmla="*/ 729743490 w 993"/>
                <a:gd name="T93" fmla="*/ 551248631 h 1452"/>
                <a:gd name="T94" fmla="*/ 768490650 w 993"/>
                <a:gd name="T95" fmla="*/ 588453732 h 1452"/>
                <a:gd name="T96" fmla="*/ 788671949 w 993"/>
                <a:gd name="T97" fmla="*/ 649197287 h 1452"/>
                <a:gd name="T98" fmla="*/ 791900130 w 993"/>
                <a:gd name="T99" fmla="*/ 704625454 h 1452"/>
                <a:gd name="T100" fmla="*/ 749117070 w 993"/>
                <a:gd name="T101" fmla="*/ 719811778 h 1452"/>
                <a:gd name="T102" fmla="*/ 661127793 w 993"/>
                <a:gd name="T103" fmla="*/ 734997231 h 1452"/>
                <a:gd name="T104" fmla="*/ 667585952 w 993"/>
                <a:gd name="T105" fmla="*/ 784351914 h 1452"/>
                <a:gd name="T106" fmla="*/ 651441452 w 993"/>
                <a:gd name="T107" fmla="*/ 851169824 h 1452"/>
                <a:gd name="T108" fmla="*/ 612693394 w 993"/>
                <a:gd name="T109" fmla="*/ 879263828 h 1452"/>
                <a:gd name="T110" fmla="*/ 566681254 w 993"/>
                <a:gd name="T111" fmla="*/ 912672347 h 1452"/>
                <a:gd name="T112" fmla="*/ 566681254 w 993"/>
                <a:gd name="T113" fmla="*/ 946840923 h 1452"/>
                <a:gd name="T114" fmla="*/ 544078594 w 993"/>
                <a:gd name="T115" fmla="*/ 986324670 h 1452"/>
                <a:gd name="T116" fmla="*/ 494837375 w 993"/>
                <a:gd name="T117" fmla="*/ 1013658834 h 1452"/>
                <a:gd name="T118" fmla="*/ 472234715 w 993"/>
                <a:gd name="T119" fmla="*/ 1066050259 h 1452"/>
                <a:gd name="T120" fmla="*/ 423800204 w 993"/>
                <a:gd name="T121" fmla="*/ 1102496392 h 145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93"/>
                <a:gd name="T184" fmla="*/ 0 h 1452"/>
                <a:gd name="T185" fmla="*/ 993 w 993"/>
                <a:gd name="T186" fmla="*/ 1452 h 145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93" h="1452">
                  <a:moveTo>
                    <a:pt x="509" y="1452"/>
                  </a:moveTo>
                  <a:lnTo>
                    <a:pt x="505" y="1448"/>
                  </a:lnTo>
                  <a:lnTo>
                    <a:pt x="501" y="1440"/>
                  </a:lnTo>
                  <a:lnTo>
                    <a:pt x="497" y="1440"/>
                  </a:lnTo>
                  <a:lnTo>
                    <a:pt x="492" y="1436"/>
                  </a:lnTo>
                  <a:lnTo>
                    <a:pt x="492" y="1428"/>
                  </a:lnTo>
                  <a:lnTo>
                    <a:pt x="488" y="1416"/>
                  </a:lnTo>
                  <a:lnTo>
                    <a:pt x="476" y="1412"/>
                  </a:lnTo>
                  <a:lnTo>
                    <a:pt x="460" y="1400"/>
                  </a:lnTo>
                  <a:lnTo>
                    <a:pt x="452" y="1392"/>
                  </a:lnTo>
                  <a:lnTo>
                    <a:pt x="444" y="1384"/>
                  </a:lnTo>
                  <a:lnTo>
                    <a:pt x="416" y="1384"/>
                  </a:lnTo>
                  <a:lnTo>
                    <a:pt x="384" y="1384"/>
                  </a:lnTo>
                  <a:lnTo>
                    <a:pt x="363" y="1400"/>
                  </a:lnTo>
                  <a:lnTo>
                    <a:pt x="351" y="1408"/>
                  </a:lnTo>
                  <a:lnTo>
                    <a:pt x="343" y="1412"/>
                  </a:lnTo>
                  <a:lnTo>
                    <a:pt x="331" y="1412"/>
                  </a:lnTo>
                  <a:lnTo>
                    <a:pt x="327" y="1412"/>
                  </a:lnTo>
                  <a:lnTo>
                    <a:pt x="315" y="1408"/>
                  </a:lnTo>
                  <a:lnTo>
                    <a:pt x="315" y="1404"/>
                  </a:lnTo>
                  <a:lnTo>
                    <a:pt x="307" y="1404"/>
                  </a:lnTo>
                  <a:lnTo>
                    <a:pt x="299" y="1400"/>
                  </a:lnTo>
                  <a:lnTo>
                    <a:pt x="299" y="1388"/>
                  </a:lnTo>
                  <a:lnTo>
                    <a:pt x="295" y="1380"/>
                  </a:lnTo>
                  <a:lnTo>
                    <a:pt x="287" y="1368"/>
                  </a:lnTo>
                  <a:lnTo>
                    <a:pt x="287" y="1360"/>
                  </a:lnTo>
                  <a:lnTo>
                    <a:pt x="283" y="1355"/>
                  </a:lnTo>
                  <a:lnTo>
                    <a:pt x="271" y="1347"/>
                  </a:lnTo>
                  <a:lnTo>
                    <a:pt x="267" y="1315"/>
                  </a:lnTo>
                  <a:lnTo>
                    <a:pt x="263" y="1283"/>
                  </a:lnTo>
                  <a:lnTo>
                    <a:pt x="258" y="1283"/>
                  </a:lnTo>
                  <a:lnTo>
                    <a:pt x="250" y="1263"/>
                  </a:lnTo>
                  <a:lnTo>
                    <a:pt x="250" y="1259"/>
                  </a:lnTo>
                  <a:lnTo>
                    <a:pt x="250" y="1247"/>
                  </a:lnTo>
                  <a:lnTo>
                    <a:pt x="250" y="1234"/>
                  </a:lnTo>
                  <a:lnTo>
                    <a:pt x="246" y="1226"/>
                  </a:lnTo>
                  <a:lnTo>
                    <a:pt x="246" y="1206"/>
                  </a:lnTo>
                  <a:lnTo>
                    <a:pt x="246" y="1190"/>
                  </a:lnTo>
                  <a:lnTo>
                    <a:pt x="242" y="1170"/>
                  </a:lnTo>
                  <a:lnTo>
                    <a:pt x="242" y="1150"/>
                  </a:lnTo>
                  <a:lnTo>
                    <a:pt x="242" y="1105"/>
                  </a:lnTo>
                  <a:lnTo>
                    <a:pt x="246" y="1093"/>
                  </a:lnTo>
                  <a:lnTo>
                    <a:pt x="246" y="1065"/>
                  </a:lnTo>
                  <a:lnTo>
                    <a:pt x="246" y="1045"/>
                  </a:lnTo>
                  <a:lnTo>
                    <a:pt x="242" y="1033"/>
                  </a:lnTo>
                  <a:lnTo>
                    <a:pt x="234" y="1017"/>
                  </a:lnTo>
                  <a:lnTo>
                    <a:pt x="230" y="1013"/>
                  </a:lnTo>
                  <a:lnTo>
                    <a:pt x="226" y="1009"/>
                  </a:lnTo>
                  <a:lnTo>
                    <a:pt x="218" y="1009"/>
                  </a:lnTo>
                  <a:lnTo>
                    <a:pt x="214" y="1009"/>
                  </a:lnTo>
                  <a:lnTo>
                    <a:pt x="198" y="1021"/>
                  </a:lnTo>
                  <a:lnTo>
                    <a:pt x="190" y="1029"/>
                  </a:lnTo>
                  <a:lnTo>
                    <a:pt x="170" y="1029"/>
                  </a:lnTo>
                  <a:lnTo>
                    <a:pt x="154" y="1029"/>
                  </a:lnTo>
                  <a:lnTo>
                    <a:pt x="142" y="992"/>
                  </a:lnTo>
                  <a:lnTo>
                    <a:pt x="121" y="960"/>
                  </a:lnTo>
                  <a:lnTo>
                    <a:pt x="89" y="956"/>
                  </a:lnTo>
                  <a:lnTo>
                    <a:pt x="73" y="952"/>
                  </a:lnTo>
                  <a:lnTo>
                    <a:pt x="69" y="956"/>
                  </a:lnTo>
                  <a:lnTo>
                    <a:pt x="65" y="960"/>
                  </a:lnTo>
                  <a:lnTo>
                    <a:pt x="61" y="984"/>
                  </a:lnTo>
                  <a:lnTo>
                    <a:pt x="57" y="992"/>
                  </a:lnTo>
                  <a:lnTo>
                    <a:pt x="53" y="988"/>
                  </a:lnTo>
                  <a:lnTo>
                    <a:pt x="49" y="988"/>
                  </a:lnTo>
                  <a:lnTo>
                    <a:pt x="49" y="980"/>
                  </a:lnTo>
                  <a:lnTo>
                    <a:pt x="41" y="972"/>
                  </a:lnTo>
                  <a:lnTo>
                    <a:pt x="41" y="956"/>
                  </a:lnTo>
                  <a:lnTo>
                    <a:pt x="49" y="944"/>
                  </a:lnTo>
                  <a:lnTo>
                    <a:pt x="65" y="932"/>
                  </a:lnTo>
                  <a:lnTo>
                    <a:pt x="85" y="912"/>
                  </a:lnTo>
                  <a:lnTo>
                    <a:pt x="97" y="900"/>
                  </a:lnTo>
                  <a:lnTo>
                    <a:pt x="113" y="883"/>
                  </a:lnTo>
                  <a:lnTo>
                    <a:pt x="113" y="863"/>
                  </a:lnTo>
                  <a:lnTo>
                    <a:pt x="113" y="851"/>
                  </a:lnTo>
                  <a:lnTo>
                    <a:pt x="97" y="839"/>
                  </a:lnTo>
                  <a:lnTo>
                    <a:pt x="89" y="827"/>
                  </a:lnTo>
                  <a:lnTo>
                    <a:pt x="81" y="827"/>
                  </a:lnTo>
                  <a:lnTo>
                    <a:pt x="65" y="827"/>
                  </a:lnTo>
                  <a:lnTo>
                    <a:pt x="49" y="835"/>
                  </a:lnTo>
                  <a:lnTo>
                    <a:pt x="33" y="839"/>
                  </a:lnTo>
                  <a:lnTo>
                    <a:pt x="20" y="839"/>
                  </a:lnTo>
                  <a:lnTo>
                    <a:pt x="12" y="839"/>
                  </a:lnTo>
                  <a:lnTo>
                    <a:pt x="8" y="835"/>
                  </a:lnTo>
                  <a:lnTo>
                    <a:pt x="0" y="827"/>
                  </a:lnTo>
                  <a:lnTo>
                    <a:pt x="0" y="819"/>
                  </a:lnTo>
                  <a:lnTo>
                    <a:pt x="0" y="807"/>
                  </a:lnTo>
                  <a:lnTo>
                    <a:pt x="37" y="795"/>
                  </a:lnTo>
                  <a:lnTo>
                    <a:pt x="73" y="775"/>
                  </a:lnTo>
                  <a:lnTo>
                    <a:pt x="113" y="770"/>
                  </a:lnTo>
                  <a:lnTo>
                    <a:pt x="150" y="762"/>
                  </a:lnTo>
                  <a:lnTo>
                    <a:pt x="154" y="758"/>
                  </a:lnTo>
                  <a:lnTo>
                    <a:pt x="158" y="754"/>
                  </a:lnTo>
                  <a:lnTo>
                    <a:pt x="178" y="750"/>
                  </a:lnTo>
                  <a:lnTo>
                    <a:pt x="198" y="742"/>
                  </a:lnTo>
                  <a:lnTo>
                    <a:pt x="206" y="734"/>
                  </a:lnTo>
                  <a:lnTo>
                    <a:pt x="206" y="726"/>
                  </a:lnTo>
                  <a:lnTo>
                    <a:pt x="206" y="714"/>
                  </a:lnTo>
                  <a:lnTo>
                    <a:pt x="206" y="702"/>
                  </a:lnTo>
                  <a:lnTo>
                    <a:pt x="206" y="694"/>
                  </a:lnTo>
                  <a:lnTo>
                    <a:pt x="202" y="686"/>
                  </a:lnTo>
                  <a:lnTo>
                    <a:pt x="194" y="678"/>
                  </a:lnTo>
                  <a:lnTo>
                    <a:pt x="182" y="674"/>
                  </a:lnTo>
                  <a:lnTo>
                    <a:pt x="182" y="645"/>
                  </a:lnTo>
                  <a:lnTo>
                    <a:pt x="178" y="625"/>
                  </a:lnTo>
                  <a:lnTo>
                    <a:pt x="178" y="609"/>
                  </a:lnTo>
                  <a:lnTo>
                    <a:pt x="166" y="597"/>
                  </a:lnTo>
                  <a:lnTo>
                    <a:pt x="154" y="593"/>
                  </a:lnTo>
                  <a:lnTo>
                    <a:pt x="146" y="589"/>
                  </a:lnTo>
                  <a:lnTo>
                    <a:pt x="142" y="581"/>
                  </a:lnTo>
                  <a:lnTo>
                    <a:pt x="142" y="557"/>
                  </a:lnTo>
                  <a:lnTo>
                    <a:pt x="150" y="541"/>
                  </a:lnTo>
                  <a:lnTo>
                    <a:pt x="158" y="520"/>
                  </a:lnTo>
                  <a:lnTo>
                    <a:pt x="158" y="500"/>
                  </a:lnTo>
                  <a:lnTo>
                    <a:pt x="158" y="472"/>
                  </a:lnTo>
                  <a:lnTo>
                    <a:pt x="154" y="468"/>
                  </a:lnTo>
                  <a:lnTo>
                    <a:pt x="150" y="456"/>
                  </a:lnTo>
                  <a:lnTo>
                    <a:pt x="146" y="448"/>
                  </a:lnTo>
                  <a:lnTo>
                    <a:pt x="137" y="444"/>
                  </a:lnTo>
                  <a:lnTo>
                    <a:pt x="129" y="432"/>
                  </a:lnTo>
                  <a:lnTo>
                    <a:pt x="117" y="419"/>
                  </a:lnTo>
                  <a:lnTo>
                    <a:pt x="113" y="399"/>
                  </a:lnTo>
                  <a:lnTo>
                    <a:pt x="101" y="383"/>
                  </a:lnTo>
                  <a:lnTo>
                    <a:pt x="97" y="359"/>
                  </a:lnTo>
                  <a:lnTo>
                    <a:pt x="93" y="339"/>
                  </a:lnTo>
                  <a:lnTo>
                    <a:pt x="89" y="335"/>
                  </a:lnTo>
                  <a:lnTo>
                    <a:pt x="85" y="323"/>
                  </a:lnTo>
                  <a:lnTo>
                    <a:pt x="85" y="311"/>
                  </a:lnTo>
                  <a:lnTo>
                    <a:pt x="81" y="302"/>
                  </a:lnTo>
                  <a:lnTo>
                    <a:pt x="81" y="298"/>
                  </a:lnTo>
                  <a:lnTo>
                    <a:pt x="73" y="294"/>
                  </a:lnTo>
                  <a:lnTo>
                    <a:pt x="69" y="226"/>
                  </a:lnTo>
                  <a:lnTo>
                    <a:pt x="65" y="190"/>
                  </a:lnTo>
                  <a:lnTo>
                    <a:pt x="69" y="181"/>
                  </a:lnTo>
                  <a:lnTo>
                    <a:pt x="69" y="177"/>
                  </a:lnTo>
                  <a:lnTo>
                    <a:pt x="69" y="145"/>
                  </a:lnTo>
                  <a:lnTo>
                    <a:pt x="69" y="109"/>
                  </a:lnTo>
                  <a:lnTo>
                    <a:pt x="65" y="105"/>
                  </a:lnTo>
                  <a:lnTo>
                    <a:pt x="61" y="101"/>
                  </a:lnTo>
                  <a:lnTo>
                    <a:pt x="61" y="93"/>
                  </a:lnTo>
                  <a:lnTo>
                    <a:pt x="61" y="85"/>
                  </a:lnTo>
                  <a:lnTo>
                    <a:pt x="69" y="68"/>
                  </a:lnTo>
                  <a:lnTo>
                    <a:pt x="81" y="52"/>
                  </a:lnTo>
                  <a:lnTo>
                    <a:pt x="85" y="52"/>
                  </a:lnTo>
                  <a:lnTo>
                    <a:pt x="93" y="48"/>
                  </a:lnTo>
                  <a:lnTo>
                    <a:pt x="97" y="40"/>
                  </a:lnTo>
                  <a:lnTo>
                    <a:pt x="101" y="24"/>
                  </a:lnTo>
                  <a:lnTo>
                    <a:pt x="133" y="16"/>
                  </a:lnTo>
                  <a:lnTo>
                    <a:pt x="150" y="12"/>
                  </a:lnTo>
                  <a:lnTo>
                    <a:pt x="166" y="12"/>
                  </a:lnTo>
                  <a:lnTo>
                    <a:pt x="178" y="12"/>
                  </a:lnTo>
                  <a:lnTo>
                    <a:pt x="182" y="12"/>
                  </a:lnTo>
                  <a:lnTo>
                    <a:pt x="190" y="12"/>
                  </a:lnTo>
                  <a:lnTo>
                    <a:pt x="218" y="12"/>
                  </a:lnTo>
                  <a:lnTo>
                    <a:pt x="254" y="12"/>
                  </a:lnTo>
                  <a:lnTo>
                    <a:pt x="267" y="4"/>
                  </a:lnTo>
                  <a:lnTo>
                    <a:pt x="283" y="0"/>
                  </a:lnTo>
                  <a:lnTo>
                    <a:pt x="299" y="0"/>
                  </a:lnTo>
                  <a:lnTo>
                    <a:pt x="319" y="4"/>
                  </a:lnTo>
                  <a:lnTo>
                    <a:pt x="347" y="52"/>
                  </a:lnTo>
                  <a:lnTo>
                    <a:pt x="359" y="60"/>
                  </a:lnTo>
                  <a:lnTo>
                    <a:pt x="359" y="73"/>
                  </a:lnTo>
                  <a:lnTo>
                    <a:pt x="363" y="89"/>
                  </a:lnTo>
                  <a:lnTo>
                    <a:pt x="359" y="93"/>
                  </a:lnTo>
                  <a:lnTo>
                    <a:pt x="351" y="97"/>
                  </a:lnTo>
                  <a:lnTo>
                    <a:pt x="335" y="101"/>
                  </a:lnTo>
                  <a:lnTo>
                    <a:pt x="315" y="101"/>
                  </a:lnTo>
                  <a:lnTo>
                    <a:pt x="311" y="105"/>
                  </a:lnTo>
                  <a:lnTo>
                    <a:pt x="307" y="109"/>
                  </a:lnTo>
                  <a:lnTo>
                    <a:pt x="299" y="117"/>
                  </a:lnTo>
                  <a:lnTo>
                    <a:pt x="299" y="121"/>
                  </a:lnTo>
                  <a:lnTo>
                    <a:pt x="299" y="129"/>
                  </a:lnTo>
                  <a:lnTo>
                    <a:pt x="299" y="133"/>
                  </a:lnTo>
                  <a:lnTo>
                    <a:pt x="299" y="165"/>
                  </a:lnTo>
                  <a:lnTo>
                    <a:pt x="299" y="169"/>
                  </a:lnTo>
                  <a:lnTo>
                    <a:pt x="307" y="169"/>
                  </a:lnTo>
                  <a:lnTo>
                    <a:pt x="315" y="181"/>
                  </a:lnTo>
                  <a:lnTo>
                    <a:pt x="327" y="190"/>
                  </a:lnTo>
                  <a:lnTo>
                    <a:pt x="339" y="190"/>
                  </a:lnTo>
                  <a:lnTo>
                    <a:pt x="347" y="194"/>
                  </a:lnTo>
                  <a:lnTo>
                    <a:pt x="359" y="206"/>
                  </a:lnTo>
                  <a:lnTo>
                    <a:pt x="371" y="238"/>
                  </a:lnTo>
                  <a:lnTo>
                    <a:pt x="384" y="246"/>
                  </a:lnTo>
                  <a:lnTo>
                    <a:pt x="392" y="250"/>
                  </a:lnTo>
                  <a:lnTo>
                    <a:pt x="412" y="250"/>
                  </a:lnTo>
                  <a:lnTo>
                    <a:pt x="424" y="250"/>
                  </a:lnTo>
                  <a:lnTo>
                    <a:pt x="440" y="242"/>
                  </a:lnTo>
                  <a:lnTo>
                    <a:pt x="448" y="238"/>
                  </a:lnTo>
                  <a:lnTo>
                    <a:pt x="460" y="226"/>
                  </a:lnTo>
                  <a:lnTo>
                    <a:pt x="476" y="218"/>
                  </a:lnTo>
                  <a:lnTo>
                    <a:pt x="497" y="202"/>
                  </a:lnTo>
                  <a:lnTo>
                    <a:pt x="513" y="177"/>
                  </a:lnTo>
                  <a:lnTo>
                    <a:pt x="517" y="177"/>
                  </a:lnTo>
                  <a:lnTo>
                    <a:pt x="529" y="169"/>
                  </a:lnTo>
                  <a:lnTo>
                    <a:pt x="533" y="165"/>
                  </a:lnTo>
                  <a:lnTo>
                    <a:pt x="533" y="137"/>
                  </a:lnTo>
                  <a:lnTo>
                    <a:pt x="533" y="109"/>
                  </a:lnTo>
                  <a:lnTo>
                    <a:pt x="537" y="105"/>
                  </a:lnTo>
                  <a:lnTo>
                    <a:pt x="541" y="97"/>
                  </a:lnTo>
                  <a:lnTo>
                    <a:pt x="557" y="97"/>
                  </a:lnTo>
                  <a:lnTo>
                    <a:pt x="565" y="97"/>
                  </a:lnTo>
                  <a:lnTo>
                    <a:pt x="569" y="101"/>
                  </a:lnTo>
                  <a:lnTo>
                    <a:pt x="577" y="105"/>
                  </a:lnTo>
                  <a:lnTo>
                    <a:pt x="577" y="117"/>
                  </a:lnTo>
                  <a:lnTo>
                    <a:pt x="577" y="129"/>
                  </a:lnTo>
                  <a:lnTo>
                    <a:pt x="569" y="129"/>
                  </a:lnTo>
                  <a:lnTo>
                    <a:pt x="569" y="133"/>
                  </a:lnTo>
                  <a:lnTo>
                    <a:pt x="565" y="141"/>
                  </a:lnTo>
                  <a:lnTo>
                    <a:pt x="561" y="153"/>
                  </a:lnTo>
                  <a:lnTo>
                    <a:pt x="557" y="153"/>
                  </a:lnTo>
                  <a:lnTo>
                    <a:pt x="553" y="165"/>
                  </a:lnTo>
                  <a:lnTo>
                    <a:pt x="545" y="169"/>
                  </a:lnTo>
                  <a:lnTo>
                    <a:pt x="545" y="194"/>
                  </a:lnTo>
                  <a:lnTo>
                    <a:pt x="553" y="214"/>
                  </a:lnTo>
                  <a:lnTo>
                    <a:pt x="553" y="222"/>
                  </a:lnTo>
                  <a:lnTo>
                    <a:pt x="557" y="226"/>
                  </a:lnTo>
                  <a:lnTo>
                    <a:pt x="565" y="230"/>
                  </a:lnTo>
                  <a:lnTo>
                    <a:pt x="569" y="238"/>
                  </a:lnTo>
                  <a:lnTo>
                    <a:pt x="581" y="238"/>
                  </a:lnTo>
                  <a:lnTo>
                    <a:pt x="589" y="238"/>
                  </a:lnTo>
                  <a:lnTo>
                    <a:pt x="618" y="218"/>
                  </a:lnTo>
                  <a:lnTo>
                    <a:pt x="642" y="206"/>
                  </a:lnTo>
                  <a:lnTo>
                    <a:pt x="646" y="194"/>
                  </a:lnTo>
                  <a:lnTo>
                    <a:pt x="650" y="190"/>
                  </a:lnTo>
                  <a:lnTo>
                    <a:pt x="666" y="190"/>
                  </a:lnTo>
                  <a:lnTo>
                    <a:pt x="682" y="190"/>
                  </a:lnTo>
                  <a:lnTo>
                    <a:pt x="682" y="214"/>
                  </a:lnTo>
                  <a:lnTo>
                    <a:pt x="682" y="242"/>
                  </a:lnTo>
                  <a:lnTo>
                    <a:pt x="682" y="250"/>
                  </a:lnTo>
                  <a:lnTo>
                    <a:pt x="686" y="254"/>
                  </a:lnTo>
                  <a:lnTo>
                    <a:pt x="686" y="270"/>
                  </a:lnTo>
                  <a:lnTo>
                    <a:pt x="686" y="286"/>
                  </a:lnTo>
                  <a:lnTo>
                    <a:pt x="670" y="294"/>
                  </a:lnTo>
                  <a:lnTo>
                    <a:pt x="654" y="298"/>
                  </a:lnTo>
                  <a:lnTo>
                    <a:pt x="650" y="307"/>
                  </a:lnTo>
                  <a:lnTo>
                    <a:pt x="646" y="311"/>
                  </a:lnTo>
                  <a:lnTo>
                    <a:pt x="646" y="323"/>
                  </a:lnTo>
                  <a:lnTo>
                    <a:pt x="646" y="371"/>
                  </a:lnTo>
                  <a:lnTo>
                    <a:pt x="642" y="379"/>
                  </a:lnTo>
                  <a:lnTo>
                    <a:pt x="638" y="391"/>
                  </a:lnTo>
                  <a:lnTo>
                    <a:pt x="630" y="395"/>
                  </a:lnTo>
                  <a:lnTo>
                    <a:pt x="618" y="407"/>
                  </a:lnTo>
                  <a:lnTo>
                    <a:pt x="593" y="407"/>
                  </a:lnTo>
                  <a:lnTo>
                    <a:pt x="565" y="411"/>
                  </a:lnTo>
                  <a:lnTo>
                    <a:pt x="557" y="419"/>
                  </a:lnTo>
                  <a:lnTo>
                    <a:pt x="545" y="424"/>
                  </a:lnTo>
                  <a:lnTo>
                    <a:pt x="537" y="436"/>
                  </a:lnTo>
                  <a:lnTo>
                    <a:pt x="525" y="448"/>
                  </a:lnTo>
                  <a:lnTo>
                    <a:pt x="525" y="472"/>
                  </a:lnTo>
                  <a:lnTo>
                    <a:pt x="525" y="492"/>
                  </a:lnTo>
                  <a:lnTo>
                    <a:pt x="529" y="496"/>
                  </a:lnTo>
                  <a:lnTo>
                    <a:pt x="533" y="500"/>
                  </a:lnTo>
                  <a:lnTo>
                    <a:pt x="561" y="500"/>
                  </a:lnTo>
                  <a:lnTo>
                    <a:pt x="589" y="500"/>
                  </a:lnTo>
                  <a:lnTo>
                    <a:pt x="593" y="504"/>
                  </a:lnTo>
                  <a:lnTo>
                    <a:pt x="597" y="508"/>
                  </a:lnTo>
                  <a:lnTo>
                    <a:pt x="609" y="532"/>
                  </a:lnTo>
                  <a:lnTo>
                    <a:pt x="613" y="549"/>
                  </a:lnTo>
                  <a:lnTo>
                    <a:pt x="622" y="561"/>
                  </a:lnTo>
                  <a:lnTo>
                    <a:pt x="634" y="569"/>
                  </a:lnTo>
                  <a:lnTo>
                    <a:pt x="646" y="573"/>
                  </a:lnTo>
                  <a:lnTo>
                    <a:pt x="658" y="581"/>
                  </a:lnTo>
                  <a:lnTo>
                    <a:pt x="718" y="589"/>
                  </a:lnTo>
                  <a:lnTo>
                    <a:pt x="771" y="593"/>
                  </a:lnTo>
                  <a:lnTo>
                    <a:pt x="775" y="601"/>
                  </a:lnTo>
                  <a:lnTo>
                    <a:pt x="783" y="605"/>
                  </a:lnTo>
                  <a:lnTo>
                    <a:pt x="783" y="613"/>
                  </a:lnTo>
                  <a:lnTo>
                    <a:pt x="783" y="625"/>
                  </a:lnTo>
                  <a:lnTo>
                    <a:pt x="787" y="625"/>
                  </a:lnTo>
                  <a:lnTo>
                    <a:pt x="791" y="633"/>
                  </a:lnTo>
                  <a:lnTo>
                    <a:pt x="791" y="645"/>
                  </a:lnTo>
                  <a:lnTo>
                    <a:pt x="803" y="662"/>
                  </a:lnTo>
                  <a:lnTo>
                    <a:pt x="811" y="686"/>
                  </a:lnTo>
                  <a:lnTo>
                    <a:pt x="815" y="694"/>
                  </a:lnTo>
                  <a:lnTo>
                    <a:pt x="819" y="702"/>
                  </a:lnTo>
                  <a:lnTo>
                    <a:pt x="827" y="702"/>
                  </a:lnTo>
                  <a:lnTo>
                    <a:pt x="835" y="710"/>
                  </a:lnTo>
                  <a:lnTo>
                    <a:pt x="864" y="714"/>
                  </a:lnTo>
                  <a:lnTo>
                    <a:pt x="896" y="722"/>
                  </a:lnTo>
                  <a:lnTo>
                    <a:pt x="904" y="726"/>
                  </a:lnTo>
                  <a:lnTo>
                    <a:pt x="916" y="730"/>
                  </a:lnTo>
                  <a:lnTo>
                    <a:pt x="916" y="738"/>
                  </a:lnTo>
                  <a:lnTo>
                    <a:pt x="920" y="750"/>
                  </a:lnTo>
                  <a:lnTo>
                    <a:pt x="932" y="762"/>
                  </a:lnTo>
                  <a:lnTo>
                    <a:pt x="948" y="775"/>
                  </a:lnTo>
                  <a:lnTo>
                    <a:pt x="952" y="775"/>
                  </a:lnTo>
                  <a:lnTo>
                    <a:pt x="964" y="775"/>
                  </a:lnTo>
                  <a:lnTo>
                    <a:pt x="969" y="799"/>
                  </a:lnTo>
                  <a:lnTo>
                    <a:pt x="969" y="823"/>
                  </a:lnTo>
                  <a:lnTo>
                    <a:pt x="973" y="827"/>
                  </a:lnTo>
                  <a:lnTo>
                    <a:pt x="977" y="839"/>
                  </a:lnTo>
                  <a:lnTo>
                    <a:pt x="977" y="855"/>
                  </a:lnTo>
                  <a:lnTo>
                    <a:pt x="981" y="879"/>
                  </a:lnTo>
                  <a:lnTo>
                    <a:pt x="985" y="883"/>
                  </a:lnTo>
                  <a:lnTo>
                    <a:pt x="993" y="892"/>
                  </a:lnTo>
                  <a:lnTo>
                    <a:pt x="993" y="908"/>
                  </a:lnTo>
                  <a:lnTo>
                    <a:pt x="993" y="920"/>
                  </a:lnTo>
                  <a:lnTo>
                    <a:pt x="981" y="928"/>
                  </a:lnTo>
                  <a:lnTo>
                    <a:pt x="973" y="936"/>
                  </a:lnTo>
                  <a:lnTo>
                    <a:pt x="956" y="936"/>
                  </a:lnTo>
                  <a:lnTo>
                    <a:pt x="948" y="936"/>
                  </a:lnTo>
                  <a:lnTo>
                    <a:pt x="944" y="940"/>
                  </a:lnTo>
                  <a:lnTo>
                    <a:pt x="940" y="948"/>
                  </a:lnTo>
                  <a:lnTo>
                    <a:pt x="928" y="948"/>
                  </a:lnTo>
                  <a:lnTo>
                    <a:pt x="912" y="948"/>
                  </a:lnTo>
                  <a:lnTo>
                    <a:pt x="876" y="948"/>
                  </a:lnTo>
                  <a:lnTo>
                    <a:pt x="835" y="944"/>
                  </a:lnTo>
                  <a:lnTo>
                    <a:pt x="831" y="952"/>
                  </a:lnTo>
                  <a:lnTo>
                    <a:pt x="831" y="956"/>
                  </a:lnTo>
                  <a:lnTo>
                    <a:pt x="819" y="968"/>
                  </a:lnTo>
                  <a:lnTo>
                    <a:pt x="811" y="976"/>
                  </a:lnTo>
                  <a:lnTo>
                    <a:pt x="811" y="980"/>
                  </a:lnTo>
                  <a:lnTo>
                    <a:pt x="811" y="988"/>
                  </a:lnTo>
                  <a:lnTo>
                    <a:pt x="815" y="996"/>
                  </a:lnTo>
                  <a:lnTo>
                    <a:pt x="819" y="1021"/>
                  </a:lnTo>
                  <a:lnTo>
                    <a:pt x="827" y="1033"/>
                  </a:lnTo>
                  <a:lnTo>
                    <a:pt x="835" y="1045"/>
                  </a:lnTo>
                  <a:lnTo>
                    <a:pt x="831" y="1069"/>
                  </a:lnTo>
                  <a:lnTo>
                    <a:pt x="831" y="1101"/>
                  </a:lnTo>
                  <a:lnTo>
                    <a:pt x="831" y="1105"/>
                  </a:lnTo>
                  <a:lnTo>
                    <a:pt x="827" y="1109"/>
                  </a:lnTo>
                  <a:lnTo>
                    <a:pt x="807" y="1121"/>
                  </a:lnTo>
                  <a:lnTo>
                    <a:pt x="787" y="1138"/>
                  </a:lnTo>
                  <a:lnTo>
                    <a:pt x="783" y="1138"/>
                  </a:lnTo>
                  <a:lnTo>
                    <a:pt x="775" y="1142"/>
                  </a:lnTo>
                  <a:lnTo>
                    <a:pt x="771" y="1146"/>
                  </a:lnTo>
                  <a:lnTo>
                    <a:pt x="759" y="1154"/>
                  </a:lnTo>
                  <a:lnTo>
                    <a:pt x="759" y="1158"/>
                  </a:lnTo>
                  <a:lnTo>
                    <a:pt x="755" y="1166"/>
                  </a:lnTo>
                  <a:lnTo>
                    <a:pt x="739" y="1178"/>
                  </a:lnTo>
                  <a:lnTo>
                    <a:pt x="726" y="1190"/>
                  </a:lnTo>
                  <a:lnTo>
                    <a:pt x="718" y="1190"/>
                  </a:lnTo>
                  <a:lnTo>
                    <a:pt x="710" y="1194"/>
                  </a:lnTo>
                  <a:lnTo>
                    <a:pt x="702" y="1202"/>
                  </a:lnTo>
                  <a:lnTo>
                    <a:pt x="698" y="1206"/>
                  </a:lnTo>
                  <a:lnTo>
                    <a:pt x="698" y="1210"/>
                  </a:lnTo>
                  <a:lnTo>
                    <a:pt x="698" y="1222"/>
                  </a:lnTo>
                  <a:lnTo>
                    <a:pt x="702" y="1222"/>
                  </a:lnTo>
                  <a:lnTo>
                    <a:pt x="702" y="1234"/>
                  </a:lnTo>
                  <a:lnTo>
                    <a:pt x="702" y="1247"/>
                  </a:lnTo>
                  <a:lnTo>
                    <a:pt x="698" y="1247"/>
                  </a:lnTo>
                  <a:lnTo>
                    <a:pt x="698" y="1263"/>
                  </a:lnTo>
                  <a:lnTo>
                    <a:pt x="698" y="1275"/>
                  </a:lnTo>
                  <a:lnTo>
                    <a:pt x="698" y="1283"/>
                  </a:lnTo>
                  <a:lnTo>
                    <a:pt x="686" y="1287"/>
                  </a:lnTo>
                  <a:lnTo>
                    <a:pt x="674" y="1299"/>
                  </a:lnTo>
                  <a:lnTo>
                    <a:pt x="650" y="1299"/>
                  </a:lnTo>
                  <a:lnTo>
                    <a:pt x="622" y="1307"/>
                  </a:lnTo>
                  <a:lnTo>
                    <a:pt x="622" y="1315"/>
                  </a:lnTo>
                  <a:lnTo>
                    <a:pt x="622" y="1331"/>
                  </a:lnTo>
                  <a:lnTo>
                    <a:pt x="618" y="1335"/>
                  </a:lnTo>
                  <a:lnTo>
                    <a:pt x="613" y="1335"/>
                  </a:lnTo>
                  <a:lnTo>
                    <a:pt x="613" y="1351"/>
                  </a:lnTo>
                  <a:lnTo>
                    <a:pt x="609" y="1368"/>
                  </a:lnTo>
                  <a:lnTo>
                    <a:pt x="605" y="1372"/>
                  </a:lnTo>
                  <a:lnTo>
                    <a:pt x="597" y="1388"/>
                  </a:lnTo>
                  <a:lnTo>
                    <a:pt x="597" y="1400"/>
                  </a:lnTo>
                  <a:lnTo>
                    <a:pt x="585" y="1404"/>
                  </a:lnTo>
                  <a:lnTo>
                    <a:pt x="577" y="1404"/>
                  </a:lnTo>
                  <a:lnTo>
                    <a:pt x="561" y="1412"/>
                  </a:lnTo>
                  <a:lnTo>
                    <a:pt x="545" y="1420"/>
                  </a:lnTo>
                  <a:lnTo>
                    <a:pt x="541" y="1440"/>
                  </a:lnTo>
                  <a:lnTo>
                    <a:pt x="533" y="1452"/>
                  </a:lnTo>
                  <a:lnTo>
                    <a:pt x="525" y="1452"/>
                  </a:lnTo>
                  <a:lnTo>
                    <a:pt x="509" y="1452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52" name="Freeform 68"/>
            <p:cNvSpPr>
              <a:spLocks/>
            </p:cNvSpPr>
            <p:nvPr/>
          </p:nvSpPr>
          <p:spPr bwMode="auto">
            <a:xfrm>
              <a:off x="5543634" y="2557034"/>
              <a:ext cx="1027112" cy="783131"/>
            </a:xfrm>
            <a:custGeom>
              <a:avLst/>
              <a:gdLst>
                <a:gd name="T0" fmla="*/ 2147483647 w 1145"/>
                <a:gd name="T1" fmla="*/ 2147483647 h 879"/>
                <a:gd name="T2" fmla="*/ 2147483647 w 1145"/>
                <a:gd name="T3" fmla="*/ 2147483647 h 879"/>
                <a:gd name="T4" fmla="*/ 2147483647 w 1145"/>
                <a:gd name="T5" fmla="*/ 2147483647 h 879"/>
                <a:gd name="T6" fmla="*/ 2147483647 w 1145"/>
                <a:gd name="T7" fmla="*/ 2147483647 h 879"/>
                <a:gd name="T8" fmla="*/ 2147483647 w 1145"/>
                <a:gd name="T9" fmla="*/ 2147483647 h 879"/>
                <a:gd name="T10" fmla="*/ 2147483647 w 1145"/>
                <a:gd name="T11" fmla="*/ 2147483647 h 879"/>
                <a:gd name="T12" fmla="*/ 2147483647 w 1145"/>
                <a:gd name="T13" fmla="*/ 2147483647 h 879"/>
                <a:gd name="T14" fmla="*/ 2147483647 w 1145"/>
                <a:gd name="T15" fmla="*/ 2147483647 h 879"/>
                <a:gd name="T16" fmla="*/ 2147483647 w 1145"/>
                <a:gd name="T17" fmla="*/ 2147483647 h 879"/>
                <a:gd name="T18" fmla="*/ 2147483647 w 1145"/>
                <a:gd name="T19" fmla="*/ 2147483647 h 879"/>
                <a:gd name="T20" fmla="*/ 2147483647 w 1145"/>
                <a:gd name="T21" fmla="*/ 2147483647 h 879"/>
                <a:gd name="T22" fmla="*/ 2147483647 w 1145"/>
                <a:gd name="T23" fmla="*/ 2147483647 h 879"/>
                <a:gd name="T24" fmla="*/ 2147483647 w 1145"/>
                <a:gd name="T25" fmla="*/ 2147483647 h 879"/>
                <a:gd name="T26" fmla="*/ 2147483647 w 1145"/>
                <a:gd name="T27" fmla="*/ 2147483647 h 879"/>
                <a:gd name="T28" fmla="*/ 2147483647 w 1145"/>
                <a:gd name="T29" fmla="*/ 2147483647 h 879"/>
                <a:gd name="T30" fmla="*/ 2147483647 w 1145"/>
                <a:gd name="T31" fmla="*/ 2147483647 h 879"/>
                <a:gd name="T32" fmla="*/ 2147483647 w 1145"/>
                <a:gd name="T33" fmla="*/ 2147483647 h 879"/>
                <a:gd name="T34" fmla="*/ 2147483647 w 1145"/>
                <a:gd name="T35" fmla="*/ 2147483647 h 879"/>
                <a:gd name="T36" fmla="*/ 2147483647 w 1145"/>
                <a:gd name="T37" fmla="*/ 2147483647 h 879"/>
                <a:gd name="T38" fmla="*/ 2147483647 w 1145"/>
                <a:gd name="T39" fmla="*/ 2147483647 h 879"/>
                <a:gd name="T40" fmla="*/ 2147483647 w 1145"/>
                <a:gd name="T41" fmla="*/ 2147483647 h 879"/>
                <a:gd name="T42" fmla="*/ 2147483647 w 1145"/>
                <a:gd name="T43" fmla="*/ 2147483647 h 879"/>
                <a:gd name="T44" fmla="*/ 2147483647 w 1145"/>
                <a:gd name="T45" fmla="*/ 2147483647 h 879"/>
                <a:gd name="T46" fmla="*/ 2147483647 w 1145"/>
                <a:gd name="T47" fmla="*/ 2147483647 h 879"/>
                <a:gd name="T48" fmla="*/ 2147483647 w 1145"/>
                <a:gd name="T49" fmla="*/ 2147483647 h 879"/>
                <a:gd name="T50" fmla="*/ 2147483647 w 1145"/>
                <a:gd name="T51" fmla="*/ 2147483647 h 879"/>
                <a:gd name="T52" fmla="*/ 2147483647 w 1145"/>
                <a:gd name="T53" fmla="*/ 2147483647 h 879"/>
                <a:gd name="T54" fmla="*/ 2147483647 w 1145"/>
                <a:gd name="T55" fmla="*/ 2147483647 h 879"/>
                <a:gd name="T56" fmla="*/ 2147483647 w 1145"/>
                <a:gd name="T57" fmla="*/ 2147483647 h 879"/>
                <a:gd name="T58" fmla="*/ 2147483647 w 1145"/>
                <a:gd name="T59" fmla="*/ 2147483647 h 879"/>
                <a:gd name="T60" fmla="*/ 2147483647 w 1145"/>
                <a:gd name="T61" fmla="*/ 2147483647 h 879"/>
                <a:gd name="T62" fmla="*/ 2147483647 w 1145"/>
                <a:gd name="T63" fmla="*/ 2147483647 h 879"/>
                <a:gd name="T64" fmla="*/ 2147483647 w 1145"/>
                <a:gd name="T65" fmla="*/ 2147483647 h 879"/>
                <a:gd name="T66" fmla="*/ 0 w 1145"/>
                <a:gd name="T67" fmla="*/ 2147483647 h 879"/>
                <a:gd name="T68" fmla="*/ 2147483647 w 1145"/>
                <a:gd name="T69" fmla="*/ 2147483647 h 879"/>
                <a:gd name="T70" fmla="*/ 2147483647 w 1145"/>
                <a:gd name="T71" fmla="*/ 2147483647 h 879"/>
                <a:gd name="T72" fmla="*/ 2147483647 w 1145"/>
                <a:gd name="T73" fmla="*/ 2147483647 h 879"/>
                <a:gd name="T74" fmla="*/ 2147483647 w 1145"/>
                <a:gd name="T75" fmla="*/ 2147483647 h 879"/>
                <a:gd name="T76" fmla="*/ 2147483647 w 1145"/>
                <a:gd name="T77" fmla="*/ 2147483647 h 879"/>
                <a:gd name="T78" fmla="*/ 2147483647 w 1145"/>
                <a:gd name="T79" fmla="*/ 2147483647 h 879"/>
                <a:gd name="T80" fmla="*/ 2147483647 w 1145"/>
                <a:gd name="T81" fmla="*/ 2147483647 h 879"/>
                <a:gd name="T82" fmla="*/ 2147483647 w 1145"/>
                <a:gd name="T83" fmla="*/ 2147483647 h 879"/>
                <a:gd name="T84" fmla="*/ 2147483647 w 1145"/>
                <a:gd name="T85" fmla="*/ 2147483647 h 879"/>
                <a:gd name="T86" fmla="*/ 2147483647 w 1145"/>
                <a:gd name="T87" fmla="*/ 2147483647 h 879"/>
                <a:gd name="T88" fmla="*/ 2147483647 w 1145"/>
                <a:gd name="T89" fmla="*/ 2147483647 h 879"/>
                <a:gd name="T90" fmla="*/ 2147483647 w 1145"/>
                <a:gd name="T91" fmla="*/ 2147483647 h 879"/>
                <a:gd name="T92" fmla="*/ 2147483647 w 1145"/>
                <a:gd name="T93" fmla="*/ 2147483647 h 879"/>
                <a:gd name="T94" fmla="*/ 2147483647 w 1145"/>
                <a:gd name="T95" fmla="*/ 2147483647 h 879"/>
                <a:gd name="T96" fmla="*/ 2147483647 w 1145"/>
                <a:gd name="T97" fmla="*/ 2147483647 h 879"/>
                <a:gd name="T98" fmla="*/ 2147483647 w 1145"/>
                <a:gd name="T99" fmla="*/ 2147483647 h 879"/>
                <a:gd name="T100" fmla="*/ 2147483647 w 1145"/>
                <a:gd name="T101" fmla="*/ 2147483647 h 879"/>
                <a:gd name="T102" fmla="*/ 2147483647 w 1145"/>
                <a:gd name="T103" fmla="*/ 2147483647 h 879"/>
                <a:gd name="T104" fmla="*/ 2147483647 w 1145"/>
                <a:gd name="T105" fmla="*/ 2147483647 h 879"/>
                <a:gd name="T106" fmla="*/ 2147483647 w 1145"/>
                <a:gd name="T107" fmla="*/ 2147483647 h 879"/>
                <a:gd name="T108" fmla="*/ 2147483647 w 1145"/>
                <a:gd name="T109" fmla="*/ 2147483647 h 879"/>
                <a:gd name="T110" fmla="*/ 2147483647 w 1145"/>
                <a:gd name="T111" fmla="*/ 2147483647 h 879"/>
                <a:gd name="T112" fmla="*/ 2147483647 w 1145"/>
                <a:gd name="T113" fmla="*/ 2147483647 h 879"/>
                <a:gd name="T114" fmla="*/ 2147483647 w 1145"/>
                <a:gd name="T115" fmla="*/ 2147483647 h 879"/>
                <a:gd name="T116" fmla="*/ 2147483647 w 1145"/>
                <a:gd name="T117" fmla="*/ 2147483647 h 879"/>
                <a:gd name="T118" fmla="*/ 2147483647 w 1145"/>
                <a:gd name="T119" fmla="*/ 2147483647 h 879"/>
                <a:gd name="T120" fmla="*/ 2147483647 w 1145"/>
                <a:gd name="T121" fmla="*/ 2147483647 h 879"/>
                <a:gd name="T122" fmla="*/ 2147483647 w 1145"/>
                <a:gd name="T123" fmla="*/ 2147483647 h 87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45"/>
                <a:gd name="T187" fmla="*/ 0 h 879"/>
                <a:gd name="T188" fmla="*/ 1145 w 1145"/>
                <a:gd name="T189" fmla="*/ 879 h 87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45" h="879">
                  <a:moveTo>
                    <a:pt x="948" y="335"/>
                  </a:moveTo>
                  <a:lnTo>
                    <a:pt x="944" y="355"/>
                  </a:lnTo>
                  <a:lnTo>
                    <a:pt x="940" y="367"/>
                  </a:lnTo>
                  <a:lnTo>
                    <a:pt x="940" y="379"/>
                  </a:lnTo>
                  <a:lnTo>
                    <a:pt x="940" y="395"/>
                  </a:lnTo>
                  <a:lnTo>
                    <a:pt x="944" y="411"/>
                  </a:lnTo>
                  <a:lnTo>
                    <a:pt x="948" y="427"/>
                  </a:lnTo>
                  <a:lnTo>
                    <a:pt x="964" y="435"/>
                  </a:lnTo>
                  <a:lnTo>
                    <a:pt x="976" y="439"/>
                  </a:lnTo>
                  <a:lnTo>
                    <a:pt x="980" y="448"/>
                  </a:lnTo>
                  <a:lnTo>
                    <a:pt x="984" y="456"/>
                  </a:lnTo>
                  <a:lnTo>
                    <a:pt x="988" y="456"/>
                  </a:lnTo>
                  <a:lnTo>
                    <a:pt x="996" y="456"/>
                  </a:lnTo>
                  <a:lnTo>
                    <a:pt x="1000" y="448"/>
                  </a:lnTo>
                  <a:lnTo>
                    <a:pt x="1004" y="439"/>
                  </a:lnTo>
                  <a:lnTo>
                    <a:pt x="1016" y="435"/>
                  </a:lnTo>
                  <a:lnTo>
                    <a:pt x="1024" y="431"/>
                  </a:lnTo>
                  <a:lnTo>
                    <a:pt x="1032" y="427"/>
                  </a:lnTo>
                  <a:lnTo>
                    <a:pt x="1049" y="419"/>
                  </a:lnTo>
                  <a:lnTo>
                    <a:pt x="1065" y="411"/>
                  </a:lnTo>
                  <a:lnTo>
                    <a:pt x="1085" y="403"/>
                  </a:lnTo>
                  <a:lnTo>
                    <a:pt x="1093" y="403"/>
                  </a:lnTo>
                  <a:lnTo>
                    <a:pt x="1101" y="403"/>
                  </a:lnTo>
                  <a:lnTo>
                    <a:pt x="1101" y="407"/>
                  </a:lnTo>
                  <a:lnTo>
                    <a:pt x="1109" y="415"/>
                  </a:lnTo>
                  <a:lnTo>
                    <a:pt x="1109" y="435"/>
                  </a:lnTo>
                  <a:lnTo>
                    <a:pt x="1113" y="464"/>
                  </a:lnTo>
                  <a:lnTo>
                    <a:pt x="1121" y="488"/>
                  </a:lnTo>
                  <a:lnTo>
                    <a:pt x="1125" y="508"/>
                  </a:lnTo>
                  <a:lnTo>
                    <a:pt x="1137" y="516"/>
                  </a:lnTo>
                  <a:lnTo>
                    <a:pt x="1145" y="528"/>
                  </a:lnTo>
                  <a:lnTo>
                    <a:pt x="1145" y="540"/>
                  </a:lnTo>
                  <a:lnTo>
                    <a:pt x="1145" y="552"/>
                  </a:lnTo>
                  <a:lnTo>
                    <a:pt x="1121" y="565"/>
                  </a:lnTo>
                  <a:lnTo>
                    <a:pt x="1101" y="577"/>
                  </a:lnTo>
                  <a:lnTo>
                    <a:pt x="1065" y="593"/>
                  </a:lnTo>
                  <a:lnTo>
                    <a:pt x="1028" y="609"/>
                  </a:lnTo>
                  <a:lnTo>
                    <a:pt x="1024" y="613"/>
                  </a:lnTo>
                  <a:lnTo>
                    <a:pt x="1020" y="621"/>
                  </a:lnTo>
                  <a:lnTo>
                    <a:pt x="952" y="625"/>
                  </a:lnTo>
                  <a:lnTo>
                    <a:pt x="924" y="629"/>
                  </a:lnTo>
                  <a:lnTo>
                    <a:pt x="920" y="621"/>
                  </a:lnTo>
                  <a:lnTo>
                    <a:pt x="911" y="613"/>
                  </a:lnTo>
                  <a:lnTo>
                    <a:pt x="899" y="613"/>
                  </a:lnTo>
                  <a:lnTo>
                    <a:pt x="891" y="609"/>
                  </a:lnTo>
                  <a:lnTo>
                    <a:pt x="887" y="601"/>
                  </a:lnTo>
                  <a:lnTo>
                    <a:pt x="883" y="597"/>
                  </a:lnTo>
                  <a:lnTo>
                    <a:pt x="871" y="593"/>
                  </a:lnTo>
                  <a:lnTo>
                    <a:pt x="855" y="585"/>
                  </a:lnTo>
                  <a:lnTo>
                    <a:pt x="847" y="577"/>
                  </a:lnTo>
                  <a:lnTo>
                    <a:pt x="843" y="577"/>
                  </a:lnTo>
                  <a:lnTo>
                    <a:pt x="839" y="573"/>
                  </a:lnTo>
                  <a:lnTo>
                    <a:pt x="831" y="573"/>
                  </a:lnTo>
                  <a:lnTo>
                    <a:pt x="819" y="560"/>
                  </a:lnTo>
                  <a:lnTo>
                    <a:pt x="794" y="540"/>
                  </a:lnTo>
                  <a:lnTo>
                    <a:pt x="774" y="528"/>
                  </a:lnTo>
                  <a:lnTo>
                    <a:pt x="750" y="524"/>
                  </a:lnTo>
                  <a:lnTo>
                    <a:pt x="734" y="524"/>
                  </a:lnTo>
                  <a:lnTo>
                    <a:pt x="718" y="524"/>
                  </a:lnTo>
                  <a:lnTo>
                    <a:pt x="690" y="540"/>
                  </a:lnTo>
                  <a:lnTo>
                    <a:pt x="661" y="552"/>
                  </a:lnTo>
                  <a:lnTo>
                    <a:pt x="657" y="560"/>
                  </a:lnTo>
                  <a:lnTo>
                    <a:pt x="649" y="573"/>
                  </a:lnTo>
                  <a:lnTo>
                    <a:pt x="617" y="589"/>
                  </a:lnTo>
                  <a:lnTo>
                    <a:pt x="589" y="609"/>
                  </a:lnTo>
                  <a:lnTo>
                    <a:pt x="569" y="609"/>
                  </a:lnTo>
                  <a:lnTo>
                    <a:pt x="552" y="609"/>
                  </a:lnTo>
                  <a:lnTo>
                    <a:pt x="548" y="601"/>
                  </a:lnTo>
                  <a:lnTo>
                    <a:pt x="540" y="597"/>
                  </a:lnTo>
                  <a:lnTo>
                    <a:pt x="536" y="597"/>
                  </a:lnTo>
                  <a:lnTo>
                    <a:pt x="524" y="597"/>
                  </a:lnTo>
                  <a:lnTo>
                    <a:pt x="508" y="585"/>
                  </a:lnTo>
                  <a:lnTo>
                    <a:pt x="492" y="573"/>
                  </a:lnTo>
                  <a:lnTo>
                    <a:pt x="484" y="573"/>
                  </a:lnTo>
                  <a:lnTo>
                    <a:pt x="476" y="573"/>
                  </a:lnTo>
                  <a:lnTo>
                    <a:pt x="435" y="573"/>
                  </a:lnTo>
                  <a:lnTo>
                    <a:pt x="399" y="573"/>
                  </a:lnTo>
                  <a:lnTo>
                    <a:pt x="375" y="573"/>
                  </a:lnTo>
                  <a:lnTo>
                    <a:pt x="347" y="577"/>
                  </a:lnTo>
                  <a:lnTo>
                    <a:pt x="339" y="577"/>
                  </a:lnTo>
                  <a:lnTo>
                    <a:pt x="322" y="589"/>
                  </a:lnTo>
                  <a:lnTo>
                    <a:pt x="306" y="601"/>
                  </a:lnTo>
                  <a:lnTo>
                    <a:pt x="294" y="613"/>
                  </a:lnTo>
                  <a:lnTo>
                    <a:pt x="294" y="633"/>
                  </a:lnTo>
                  <a:lnTo>
                    <a:pt x="290" y="649"/>
                  </a:lnTo>
                  <a:lnTo>
                    <a:pt x="270" y="677"/>
                  </a:lnTo>
                  <a:lnTo>
                    <a:pt x="258" y="702"/>
                  </a:lnTo>
                  <a:lnTo>
                    <a:pt x="254" y="710"/>
                  </a:lnTo>
                  <a:lnTo>
                    <a:pt x="250" y="722"/>
                  </a:lnTo>
                  <a:lnTo>
                    <a:pt x="226" y="754"/>
                  </a:lnTo>
                  <a:lnTo>
                    <a:pt x="205" y="770"/>
                  </a:lnTo>
                  <a:lnTo>
                    <a:pt x="189" y="778"/>
                  </a:lnTo>
                  <a:lnTo>
                    <a:pt x="165" y="790"/>
                  </a:lnTo>
                  <a:lnTo>
                    <a:pt x="153" y="799"/>
                  </a:lnTo>
                  <a:lnTo>
                    <a:pt x="145" y="807"/>
                  </a:lnTo>
                  <a:lnTo>
                    <a:pt x="125" y="811"/>
                  </a:lnTo>
                  <a:lnTo>
                    <a:pt x="113" y="815"/>
                  </a:lnTo>
                  <a:lnTo>
                    <a:pt x="88" y="831"/>
                  </a:lnTo>
                  <a:lnTo>
                    <a:pt x="72" y="851"/>
                  </a:lnTo>
                  <a:lnTo>
                    <a:pt x="64" y="855"/>
                  </a:lnTo>
                  <a:lnTo>
                    <a:pt x="64" y="867"/>
                  </a:lnTo>
                  <a:lnTo>
                    <a:pt x="56" y="871"/>
                  </a:lnTo>
                  <a:lnTo>
                    <a:pt x="52" y="879"/>
                  </a:lnTo>
                  <a:lnTo>
                    <a:pt x="48" y="879"/>
                  </a:lnTo>
                  <a:lnTo>
                    <a:pt x="40" y="875"/>
                  </a:lnTo>
                  <a:lnTo>
                    <a:pt x="40" y="847"/>
                  </a:lnTo>
                  <a:lnTo>
                    <a:pt x="36" y="843"/>
                  </a:lnTo>
                  <a:lnTo>
                    <a:pt x="36" y="827"/>
                  </a:lnTo>
                  <a:lnTo>
                    <a:pt x="36" y="807"/>
                  </a:lnTo>
                  <a:lnTo>
                    <a:pt x="32" y="803"/>
                  </a:lnTo>
                  <a:lnTo>
                    <a:pt x="28" y="799"/>
                  </a:lnTo>
                  <a:lnTo>
                    <a:pt x="24" y="782"/>
                  </a:lnTo>
                  <a:lnTo>
                    <a:pt x="16" y="766"/>
                  </a:lnTo>
                  <a:lnTo>
                    <a:pt x="8" y="726"/>
                  </a:lnTo>
                  <a:lnTo>
                    <a:pt x="4" y="686"/>
                  </a:lnTo>
                  <a:lnTo>
                    <a:pt x="4" y="665"/>
                  </a:lnTo>
                  <a:lnTo>
                    <a:pt x="4" y="645"/>
                  </a:lnTo>
                  <a:lnTo>
                    <a:pt x="4" y="621"/>
                  </a:lnTo>
                  <a:lnTo>
                    <a:pt x="8" y="597"/>
                  </a:lnTo>
                  <a:lnTo>
                    <a:pt x="16" y="560"/>
                  </a:lnTo>
                  <a:lnTo>
                    <a:pt x="20" y="484"/>
                  </a:lnTo>
                  <a:lnTo>
                    <a:pt x="52" y="431"/>
                  </a:lnTo>
                  <a:lnTo>
                    <a:pt x="60" y="415"/>
                  </a:lnTo>
                  <a:lnTo>
                    <a:pt x="60" y="407"/>
                  </a:lnTo>
                  <a:lnTo>
                    <a:pt x="60" y="395"/>
                  </a:lnTo>
                  <a:lnTo>
                    <a:pt x="52" y="359"/>
                  </a:lnTo>
                  <a:lnTo>
                    <a:pt x="36" y="310"/>
                  </a:lnTo>
                  <a:lnTo>
                    <a:pt x="28" y="286"/>
                  </a:lnTo>
                  <a:lnTo>
                    <a:pt x="24" y="266"/>
                  </a:lnTo>
                  <a:lnTo>
                    <a:pt x="24" y="230"/>
                  </a:lnTo>
                  <a:lnTo>
                    <a:pt x="20" y="189"/>
                  </a:lnTo>
                  <a:lnTo>
                    <a:pt x="8" y="169"/>
                  </a:lnTo>
                  <a:lnTo>
                    <a:pt x="4" y="149"/>
                  </a:lnTo>
                  <a:lnTo>
                    <a:pt x="0" y="133"/>
                  </a:lnTo>
                  <a:lnTo>
                    <a:pt x="0" y="117"/>
                  </a:lnTo>
                  <a:lnTo>
                    <a:pt x="0" y="101"/>
                  </a:lnTo>
                  <a:lnTo>
                    <a:pt x="0" y="88"/>
                  </a:lnTo>
                  <a:lnTo>
                    <a:pt x="32" y="76"/>
                  </a:lnTo>
                  <a:lnTo>
                    <a:pt x="60" y="64"/>
                  </a:lnTo>
                  <a:lnTo>
                    <a:pt x="72" y="52"/>
                  </a:lnTo>
                  <a:lnTo>
                    <a:pt x="76" y="40"/>
                  </a:lnTo>
                  <a:lnTo>
                    <a:pt x="84" y="36"/>
                  </a:lnTo>
                  <a:lnTo>
                    <a:pt x="93" y="28"/>
                  </a:lnTo>
                  <a:lnTo>
                    <a:pt x="113" y="12"/>
                  </a:lnTo>
                  <a:lnTo>
                    <a:pt x="125" y="0"/>
                  </a:lnTo>
                  <a:lnTo>
                    <a:pt x="129" y="0"/>
                  </a:lnTo>
                  <a:lnTo>
                    <a:pt x="145" y="0"/>
                  </a:lnTo>
                  <a:lnTo>
                    <a:pt x="153" y="12"/>
                  </a:lnTo>
                  <a:lnTo>
                    <a:pt x="169" y="20"/>
                  </a:lnTo>
                  <a:lnTo>
                    <a:pt x="181" y="20"/>
                  </a:lnTo>
                  <a:lnTo>
                    <a:pt x="201" y="20"/>
                  </a:lnTo>
                  <a:lnTo>
                    <a:pt x="205" y="16"/>
                  </a:lnTo>
                  <a:lnTo>
                    <a:pt x="214" y="16"/>
                  </a:lnTo>
                  <a:lnTo>
                    <a:pt x="226" y="16"/>
                  </a:lnTo>
                  <a:lnTo>
                    <a:pt x="238" y="16"/>
                  </a:lnTo>
                  <a:lnTo>
                    <a:pt x="250" y="28"/>
                  </a:lnTo>
                  <a:lnTo>
                    <a:pt x="254" y="36"/>
                  </a:lnTo>
                  <a:lnTo>
                    <a:pt x="270" y="44"/>
                  </a:lnTo>
                  <a:lnTo>
                    <a:pt x="278" y="52"/>
                  </a:lnTo>
                  <a:lnTo>
                    <a:pt x="294" y="52"/>
                  </a:lnTo>
                  <a:lnTo>
                    <a:pt x="314" y="52"/>
                  </a:lnTo>
                  <a:lnTo>
                    <a:pt x="322" y="36"/>
                  </a:lnTo>
                  <a:lnTo>
                    <a:pt x="339" y="20"/>
                  </a:lnTo>
                  <a:lnTo>
                    <a:pt x="343" y="28"/>
                  </a:lnTo>
                  <a:lnTo>
                    <a:pt x="347" y="40"/>
                  </a:lnTo>
                  <a:lnTo>
                    <a:pt x="363" y="44"/>
                  </a:lnTo>
                  <a:lnTo>
                    <a:pt x="371" y="48"/>
                  </a:lnTo>
                  <a:lnTo>
                    <a:pt x="371" y="64"/>
                  </a:lnTo>
                  <a:lnTo>
                    <a:pt x="375" y="64"/>
                  </a:lnTo>
                  <a:lnTo>
                    <a:pt x="379" y="80"/>
                  </a:lnTo>
                  <a:lnTo>
                    <a:pt x="383" y="101"/>
                  </a:lnTo>
                  <a:lnTo>
                    <a:pt x="399" y="129"/>
                  </a:lnTo>
                  <a:lnTo>
                    <a:pt x="403" y="149"/>
                  </a:lnTo>
                  <a:lnTo>
                    <a:pt x="407" y="149"/>
                  </a:lnTo>
                  <a:lnTo>
                    <a:pt x="419" y="153"/>
                  </a:lnTo>
                  <a:lnTo>
                    <a:pt x="427" y="153"/>
                  </a:lnTo>
                  <a:lnTo>
                    <a:pt x="435" y="153"/>
                  </a:lnTo>
                  <a:lnTo>
                    <a:pt x="456" y="137"/>
                  </a:lnTo>
                  <a:lnTo>
                    <a:pt x="480" y="117"/>
                  </a:lnTo>
                  <a:lnTo>
                    <a:pt x="480" y="105"/>
                  </a:lnTo>
                  <a:lnTo>
                    <a:pt x="484" y="92"/>
                  </a:lnTo>
                  <a:lnTo>
                    <a:pt x="484" y="88"/>
                  </a:lnTo>
                  <a:lnTo>
                    <a:pt x="488" y="80"/>
                  </a:lnTo>
                  <a:lnTo>
                    <a:pt x="492" y="64"/>
                  </a:lnTo>
                  <a:lnTo>
                    <a:pt x="492" y="48"/>
                  </a:lnTo>
                  <a:lnTo>
                    <a:pt x="500" y="44"/>
                  </a:lnTo>
                  <a:lnTo>
                    <a:pt x="508" y="40"/>
                  </a:lnTo>
                  <a:lnTo>
                    <a:pt x="516" y="40"/>
                  </a:lnTo>
                  <a:lnTo>
                    <a:pt x="520" y="40"/>
                  </a:lnTo>
                  <a:lnTo>
                    <a:pt x="520" y="44"/>
                  </a:lnTo>
                  <a:lnTo>
                    <a:pt x="524" y="48"/>
                  </a:lnTo>
                  <a:lnTo>
                    <a:pt x="528" y="64"/>
                  </a:lnTo>
                  <a:lnTo>
                    <a:pt x="528" y="72"/>
                  </a:lnTo>
                  <a:lnTo>
                    <a:pt x="536" y="76"/>
                  </a:lnTo>
                  <a:lnTo>
                    <a:pt x="540" y="80"/>
                  </a:lnTo>
                  <a:lnTo>
                    <a:pt x="540" y="84"/>
                  </a:lnTo>
                  <a:lnTo>
                    <a:pt x="544" y="92"/>
                  </a:lnTo>
                  <a:lnTo>
                    <a:pt x="548" y="92"/>
                  </a:lnTo>
                  <a:lnTo>
                    <a:pt x="552" y="101"/>
                  </a:lnTo>
                  <a:lnTo>
                    <a:pt x="581" y="101"/>
                  </a:lnTo>
                  <a:lnTo>
                    <a:pt x="601" y="92"/>
                  </a:lnTo>
                  <a:lnTo>
                    <a:pt x="613" y="105"/>
                  </a:lnTo>
                  <a:lnTo>
                    <a:pt x="617" y="117"/>
                  </a:lnTo>
                  <a:lnTo>
                    <a:pt x="617" y="133"/>
                  </a:lnTo>
                  <a:lnTo>
                    <a:pt x="617" y="157"/>
                  </a:lnTo>
                  <a:lnTo>
                    <a:pt x="617" y="161"/>
                  </a:lnTo>
                  <a:lnTo>
                    <a:pt x="613" y="165"/>
                  </a:lnTo>
                  <a:lnTo>
                    <a:pt x="613" y="177"/>
                  </a:lnTo>
                  <a:lnTo>
                    <a:pt x="613" y="189"/>
                  </a:lnTo>
                  <a:lnTo>
                    <a:pt x="621" y="201"/>
                  </a:lnTo>
                  <a:lnTo>
                    <a:pt x="633" y="209"/>
                  </a:lnTo>
                  <a:lnTo>
                    <a:pt x="665" y="218"/>
                  </a:lnTo>
                  <a:lnTo>
                    <a:pt x="694" y="226"/>
                  </a:lnTo>
                  <a:lnTo>
                    <a:pt x="702" y="234"/>
                  </a:lnTo>
                  <a:lnTo>
                    <a:pt x="706" y="246"/>
                  </a:lnTo>
                  <a:lnTo>
                    <a:pt x="706" y="250"/>
                  </a:lnTo>
                  <a:lnTo>
                    <a:pt x="714" y="254"/>
                  </a:lnTo>
                  <a:lnTo>
                    <a:pt x="714" y="266"/>
                  </a:lnTo>
                  <a:lnTo>
                    <a:pt x="714" y="282"/>
                  </a:lnTo>
                  <a:lnTo>
                    <a:pt x="706" y="286"/>
                  </a:lnTo>
                  <a:lnTo>
                    <a:pt x="702" y="298"/>
                  </a:lnTo>
                  <a:lnTo>
                    <a:pt x="694" y="302"/>
                  </a:lnTo>
                  <a:lnTo>
                    <a:pt x="686" y="310"/>
                  </a:lnTo>
                  <a:lnTo>
                    <a:pt x="686" y="318"/>
                  </a:lnTo>
                  <a:lnTo>
                    <a:pt x="686" y="335"/>
                  </a:lnTo>
                  <a:lnTo>
                    <a:pt x="690" y="339"/>
                  </a:lnTo>
                  <a:lnTo>
                    <a:pt x="694" y="347"/>
                  </a:lnTo>
                  <a:lnTo>
                    <a:pt x="714" y="359"/>
                  </a:lnTo>
                  <a:lnTo>
                    <a:pt x="730" y="371"/>
                  </a:lnTo>
                  <a:lnTo>
                    <a:pt x="734" y="367"/>
                  </a:lnTo>
                  <a:lnTo>
                    <a:pt x="746" y="367"/>
                  </a:lnTo>
                  <a:lnTo>
                    <a:pt x="750" y="359"/>
                  </a:lnTo>
                  <a:lnTo>
                    <a:pt x="754" y="355"/>
                  </a:lnTo>
                  <a:lnTo>
                    <a:pt x="766" y="347"/>
                  </a:lnTo>
                  <a:lnTo>
                    <a:pt x="778" y="343"/>
                  </a:lnTo>
                  <a:lnTo>
                    <a:pt x="782" y="335"/>
                  </a:lnTo>
                  <a:lnTo>
                    <a:pt x="790" y="318"/>
                  </a:lnTo>
                  <a:lnTo>
                    <a:pt x="803" y="310"/>
                  </a:lnTo>
                  <a:lnTo>
                    <a:pt x="807" y="302"/>
                  </a:lnTo>
                  <a:lnTo>
                    <a:pt x="819" y="298"/>
                  </a:lnTo>
                  <a:lnTo>
                    <a:pt x="831" y="294"/>
                  </a:lnTo>
                  <a:lnTo>
                    <a:pt x="839" y="282"/>
                  </a:lnTo>
                  <a:lnTo>
                    <a:pt x="855" y="282"/>
                  </a:lnTo>
                  <a:lnTo>
                    <a:pt x="883" y="274"/>
                  </a:lnTo>
                  <a:lnTo>
                    <a:pt x="911" y="274"/>
                  </a:lnTo>
                  <a:lnTo>
                    <a:pt x="924" y="282"/>
                  </a:lnTo>
                  <a:lnTo>
                    <a:pt x="936" y="286"/>
                  </a:lnTo>
                  <a:lnTo>
                    <a:pt x="944" y="310"/>
                  </a:lnTo>
                  <a:lnTo>
                    <a:pt x="948" y="3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53" name="Freeform 69"/>
            <p:cNvSpPr>
              <a:spLocks/>
            </p:cNvSpPr>
            <p:nvPr/>
          </p:nvSpPr>
          <p:spPr bwMode="auto">
            <a:xfrm>
              <a:off x="2677419" y="1460402"/>
              <a:ext cx="652462" cy="745840"/>
            </a:xfrm>
            <a:custGeom>
              <a:avLst/>
              <a:gdLst>
                <a:gd name="T0" fmla="*/ 2147483647 w 726"/>
                <a:gd name="T1" fmla="*/ 2147483647 h 839"/>
                <a:gd name="T2" fmla="*/ 2147483647 w 726"/>
                <a:gd name="T3" fmla="*/ 2147483647 h 839"/>
                <a:gd name="T4" fmla="*/ 2147483647 w 726"/>
                <a:gd name="T5" fmla="*/ 2147483647 h 839"/>
                <a:gd name="T6" fmla="*/ 2147483647 w 726"/>
                <a:gd name="T7" fmla="*/ 2147483647 h 839"/>
                <a:gd name="T8" fmla="*/ 2147483647 w 726"/>
                <a:gd name="T9" fmla="*/ 2147483647 h 839"/>
                <a:gd name="T10" fmla="*/ 2147483647 w 726"/>
                <a:gd name="T11" fmla="*/ 2147483647 h 839"/>
                <a:gd name="T12" fmla="*/ 2147483647 w 726"/>
                <a:gd name="T13" fmla="*/ 2147483647 h 839"/>
                <a:gd name="T14" fmla="*/ 2147483647 w 726"/>
                <a:gd name="T15" fmla="*/ 2147483647 h 839"/>
                <a:gd name="T16" fmla="*/ 2147483647 w 726"/>
                <a:gd name="T17" fmla="*/ 2147483647 h 839"/>
                <a:gd name="T18" fmla="*/ 2147483647 w 726"/>
                <a:gd name="T19" fmla="*/ 2147483647 h 839"/>
                <a:gd name="T20" fmla="*/ 2147483647 w 726"/>
                <a:gd name="T21" fmla="*/ 2147483647 h 839"/>
                <a:gd name="T22" fmla="*/ 2147483647 w 726"/>
                <a:gd name="T23" fmla="*/ 2147483647 h 839"/>
                <a:gd name="T24" fmla="*/ 0 w 726"/>
                <a:gd name="T25" fmla="*/ 2147483647 h 839"/>
                <a:gd name="T26" fmla="*/ 2147483647 w 726"/>
                <a:gd name="T27" fmla="*/ 2147483647 h 839"/>
                <a:gd name="T28" fmla="*/ 2147483647 w 726"/>
                <a:gd name="T29" fmla="*/ 2147483647 h 839"/>
                <a:gd name="T30" fmla="*/ 2147483647 w 726"/>
                <a:gd name="T31" fmla="*/ 2147483647 h 839"/>
                <a:gd name="T32" fmla="*/ 2147483647 w 726"/>
                <a:gd name="T33" fmla="*/ 2147483647 h 839"/>
                <a:gd name="T34" fmla="*/ 2147483647 w 726"/>
                <a:gd name="T35" fmla="*/ 2147483647 h 839"/>
                <a:gd name="T36" fmla="*/ 2147483647 w 726"/>
                <a:gd name="T37" fmla="*/ 2147483647 h 839"/>
                <a:gd name="T38" fmla="*/ 2147483647 w 726"/>
                <a:gd name="T39" fmla="*/ 2147483647 h 839"/>
                <a:gd name="T40" fmla="*/ 2147483647 w 726"/>
                <a:gd name="T41" fmla="*/ 2147483647 h 839"/>
                <a:gd name="T42" fmla="*/ 2147483647 w 726"/>
                <a:gd name="T43" fmla="*/ 2147483647 h 839"/>
                <a:gd name="T44" fmla="*/ 2147483647 w 726"/>
                <a:gd name="T45" fmla="*/ 2147483647 h 839"/>
                <a:gd name="T46" fmla="*/ 2147483647 w 726"/>
                <a:gd name="T47" fmla="*/ 2147483647 h 839"/>
                <a:gd name="T48" fmla="*/ 2147483647 w 726"/>
                <a:gd name="T49" fmla="*/ 2147483647 h 839"/>
                <a:gd name="T50" fmla="*/ 2147483647 w 726"/>
                <a:gd name="T51" fmla="*/ 2147483647 h 839"/>
                <a:gd name="T52" fmla="*/ 2147483647 w 726"/>
                <a:gd name="T53" fmla="*/ 0 h 839"/>
                <a:gd name="T54" fmla="*/ 2147483647 w 726"/>
                <a:gd name="T55" fmla="*/ 2147483647 h 839"/>
                <a:gd name="T56" fmla="*/ 2147483647 w 726"/>
                <a:gd name="T57" fmla="*/ 2147483647 h 839"/>
                <a:gd name="T58" fmla="*/ 2147483647 w 726"/>
                <a:gd name="T59" fmla="*/ 2147483647 h 839"/>
                <a:gd name="T60" fmla="*/ 2147483647 w 726"/>
                <a:gd name="T61" fmla="*/ 2147483647 h 839"/>
                <a:gd name="T62" fmla="*/ 2147483647 w 726"/>
                <a:gd name="T63" fmla="*/ 2147483647 h 839"/>
                <a:gd name="T64" fmla="*/ 2147483647 w 726"/>
                <a:gd name="T65" fmla="*/ 2147483647 h 839"/>
                <a:gd name="T66" fmla="*/ 2147483647 w 726"/>
                <a:gd name="T67" fmla="*/ 2147483647 h 839"/>
                <a:gd name="T68" fmla="*/ 2147483647 w 726"/>
                <a:gd name="T69" fmla="*/ 2147483647 h 839"/>
                <a:gd name="T70" fmla="*/ 2147483647 w 726"/>
                <a:gd name="T71" fmla="*/ 2147483647 h 839"/>
                <a:gd name="T72" fmla="*/ 2147483647 w 726"/>
                <a:gd name="T73" fmla="*/ 2147483647 h 839"/>
                <a:gd name="T74" fmla="*/ 2147483647 w 726"/>
                <a:gd name="T75" fmla="*/ 2147483647 h 839"/>
                <a:gd name="T76" fmla="*/ 2147483647 w 726"/>
                <a:gd name="T77" fmla="*/ 2147483647 h 839"/>
                <a:gd name="T78" fmla="*/ 2147483647 w 726"/>
                <a:gd name="T79" fmla="*/ 2147483647 h 839"/>
                <a:gd name="T80" fmla="*/ 2147483647 w 726"/>
                <a:gd name="T81" fmla="*/ 2147483647 h 839"/>
                <a:gd name="T82" fmla="*/ 2147483647 w 726"/>
                <a:gd name="T83" fmla="*/ 2147483647 h 839"/>
                <a:gd name="T84" fmla="*/ 2147483647 w 726"/>
                <a:gd name="T85" fmla="*/ 2147483647 h 839"/>
                <a:gd name="T86" fmla="*/ 2147483647 w 726"/>
                <a:gd name="T87" fmla="*/ 2147483647 h 839"/>
                <a:gd name="T88" fmla="*/ 2147483647 w 726"/>
                <a:gd name="T89" fmla="*/ 2147483647 h 839"/>
                <a:gd name="T90" fmla="*/ 2147483647 w 726"/>
                <a:gd name="T91" fmla="*/ 2147483647 h 839"/>
                <a:gd name="T92" fmla="*/ 2147483647 w 726"/>
                <a:gd name="T93" fmla="*/ 2147483647 h 839"/>
                <a:gd name="T94" fmla="*/ 2147483647 w 726"/>
                <a:gd name="T95" fmla="*/ 2147483647 h 839"/>
                <a:gd name="T96" fmla="*/ 2147483647 w 726"/>
                <a:gd name="T97" fmla="*/ 2147483647 h 839"/>
                <a:gd name="T98" fmla="*/ 2147483647 w 726"/>
                <a:gd name="T99" fmla="*/ 2147483647 h 839"/>
                <a:gd name="T100" fmla="*/ 2147483647 w 726"/>
                <a:gd name="T101" fmla="*/ 2147483647 h 83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726"/>
                <a:gd name="T154" fmla="*/ 0 h 839"/>
                <a:gd name="T155" fmla="*/ 726 w 726"/>
                <a:gd name="T156" fmla="*/ 839 h 83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726" h="839">
                  <a:moveTo>
                    <a:pt x="504" y="839"/>
                  </a:moveTo>
                  <a:lnTo>
                    <a:pt x="480" y="831"/>
                  </a:lnTo>
                  <a:lnTo>
                    <a:pt x="452" y="819"/>
                  </a:lnTo>
                  <a:lnTo>
                    <a:pt x="439" y="811"/>
                  </a:lnTo>
                  <a:lnTo>
                    <a:pt x="431" y="799"/>
                  </a:lnTo>
                  <a:lnTo>
                    <a:pt x="431" y="779"/>
                  </a:lnTo>
                  <a:lnTo>
                    <a:pt x="427" y="759"/>
                  </a:lnTo>
                  <a:lnTo>
                    <a:pt x="411" y="722"/>
                  </a:lnTo>
                  <a:lnTo>
                    <a:pt x="395" y="698"/>
                  </a:lnTo>
                  <a:lnTo>
                    <a:pt x="387" y="686"/>
                  </a:lnTo>
                  <a:lnTo>
                    <a:pt x="383" y="678"/>
                  </a:lnTo>
                  <a:lnTo>
                    <a:pt x="383" y="650"/>
                  </a:lnTo>
                  <a:lnTo>
                    <a:pt x="383" y="625"/>
                  </a:lnTo>
                  <a:lnTo>
                    <a:pt x="375" y="613"/>
                  </a:lnTo>
                  <a:lnTo>
                    <a:pt x="367" y="605"/>
                  </a:lnTo>
                  <a:lnTo>
                    <a:pt x="355" y="605"/>
                  </a:lnTo>
                  <a:lnTo>
                    <a:pt x="347" y="605"/>
                  </a:lnTo>
                  <a:lnTo>
                    <a:pt x="335" y="613"/>
                  </a:lnTo>
                  <a:lnTo>
                    <a:pt x="318" y="625"/>
                  </a:lnTo>
                  <a:lnTo>
                    <a:pt x="314" y="625"/>
                  </a:lnTo>
                  <a:lnTo>
                    <a:pt x="306" y="638"/>
                  </a:lnTo>
                  <a:lnTo>
                    <a:pt x="298" y="642"/>
                  </a:lnTo>
                  <a:lnTo>
                    <a:pt x="290" y="646"/>
                  </a:lnTo>
                  <a:lnTo>
                    <a:pt x="254" y="642"/>
                  </a:lnTo>
                  <a:lnTo>
                    <a:pt x="210" y="642"/>
                  </a:lnTo>
                  <a:lnTo>
                    <a:pt x="205" y="642"/>
                  </a:lnTo>
                  <a:lnTo>
                    <a:pt x="205" y="638"/>
                  </a:lnTo>
                  <a:lnTo>
                    <a:pt x="201" y="633"/>
                  </a:lnTo>
                  <a:lnTo>
                    <a:pt x="201" y="625"/>
                  </a:lnTo>
                  <a:lnTo>
                    <a:pt x="185" y="609"/>
                  </a:lnTo>
                  <a:lnTo>
                    <a:pt x="177" y="597"/>
                  </a:lnTo>
                  <a:lnTo>
                    <a:pt x="161" y="573"/>
                  </a:lnTo>
                  <a:lnTo>
                    <a:pt x="149" y="549"/>
                  </a:lnTo>
                  <a:lnTo>
                    <a:pt x="153" y="500"/>
                  </a:lnTo>
                  <a:lnTo>
                    <a:pt x="153" y="464"/>
                  </a:lnTo>
                  <a:lnTo>
                    <a:pt x="141" y="440"/>
                  </a:lnTo>
                  <a:lnTo>
                    <a:pt x="141" y="428"/>
                  </a:lnTo>
                  <a:lnTo>
                    <a:pt x="137" y="428"/>
                  </a:lnTo>
                  <a:lnTo>
                    <a:pt x="129" y="420"/>
                  </a:lnTo>
                  <a:lnTo>
                    <a:pt x="121" y="379"/>
                  </a:lnTo>
                  <a:lnTo>
                    <a:pt x="113" y="343"/>
                  </a:lnTo>
                  <a:lnTo>
                    <a:pt x="105" y="335"/>
                  </a:lnTo>
                  <a:lnTo>
                    <a:pt x="97" y="331"/>
                  </a:lnTo>
                  <a:lnTo>
                    <a:pt x="88" y="331"/>
                  </a:lnTo>
                  <a:lnTo>
                    <a:pt x="72" y="331"/>
                  </a:lnTo>
                  <a:lnTo>
                    <a:pt x="60" y="343"/>
                  </a:lnTo>
                  <a:lnTo>
                    <a:pt x="48" y="355"/>
                  </a:lnTo>
                  <a:lnTo>
                    <a:pt x="44" y="371"/>
                  </a:lnTo>
                  <a:lnTo>
                    <a:pt x="40" y="383"/>
                  </a:lnTo>
                  <a:lnTo>
                    <a:pt x="24" y="399"/>
                  </a:lnTo>
                  <a:lnTo>
                    <a:pt x="8" y="416"/>
                  </a:lnTo>
                  <a:lnTo>
                    <a:pt x="0" y="408"/>
                  </a:lnTo>
                  <a:lnTo>
                    <a:pt x="0" y="404"/>
                  </a:lnTo>
                  <a:lnTo>
                    <a:pt x="0" y="399"/>
                  </a:lnTo>
                  <a:lnTo>
                    <a:pt x="16" y="363"/>
                  </a:lnTo>
                  <a:lnTo>
                    <a:pt x="24" y="331"/>
                  </a:lnTo>
                  <a:lnTo>
                    <a:pt x="32" y="327"/>
                  </a:lnTo>
                  <a:lnTo>
                    <a:pt x="40" y="299"/>
                  </a:lnTo>
                  <a:lnTo>
                    <a:pt x="48" y="262"/>
                  </a:lnTo>
                  <a:lnTo>
                    <a:pt x="52" y="250"/>
                  </a:lnTo>
                  <a:lnTo>
                    <a:pt x="60" y="238"/>
                  </a:lnTo>
                  <a:lnTo>
                    <a:pt x="60" y="222"/>
                  </a:lnTo>
                  <a:lnTo>
                    <a:pt x="68" y="198"/>
                  </a:lnTo>
                  <a:lnTo>
                    <a:pt x="84" y="190"/>
                  </a:lnTo>
                  <a:lnTo>
                    <a:pt x="97" y="182"/>
                  </a:lnTo>
                  <a:lnTo>
                    <a:pt x="109" y="182"/>
                  </a:lnTo>
                  <a:lnTo>
                    <a:pt x="125" y="182"/>
                  </a:lnTo>
                  <a:lnTo>
                    <a:pt x="141" y="190"/>
                  </a:lnTo>
                  <a:lnTo>
                    <a:pt x="149" y="198"/>
                  </a:lnTo>
                  <a:lnTo>
                    <a:pt x="153" y="218"/>
                  </a:lnTo>
                  <a:lnTo>
                    <a:pt x="157" y="238"/>
                  </a:lnTo>
                  <a:lnTo>
                    <a:pt x="161" y="250"/>
                  </a:lnTo>
                  <a:lnTo>
                    <a:pt x="165" y="258"/>
                  </a:lnTo>
                  <a:lnTo>
                    <a:pt x="189" y="270"/>
                  </a:lnTo>
                  <a:lnTo>
                    <a:pt x="222" y="278"/>
                  </a:lnTo>
                  <a:lnTo>
                    <a:pt x="230" y="278"/>
                  </a:lnTo>
                  <a:lnTo>
                    <a:pt x="238" y="278"/>
                  </a:lnTo>
                  <a:lnTo>
                    <a:pt x="242" y="274"/>
                  </a:lnTo>
                  <a:lnTo>
                    <a:pt x="254" y="270"/>
                  </a:lnTo>
                  <a:lnTo>
                    <a:pt x="258" y="250"/>
                  </a:lnTo>
                  <a:lnTo>
                    <a:pt x="266" y="230"/>
                  </a:lnTo>
                  <a:lnTo>
                    <a:pt x="282" y="226"/>
                  </a:lnTo>
                  <a:lnTo>
                    <a:pt x="290" y="226"/>
                  </a:lnTo>
                  <a:lnTo>
                    <a:pt x="290" y="234"/>
                  </a:lnTo>
                  <a:lnTo>
                    <a:pt x="294" y="246"/>
                  </a:lnTo>
                  <a:lnTo>
                    <a:pt x="298" y="250"/>
                  </a:lnTo>
                  <a:lnTo>
                    <a:pt x="314" y="262"/>
                  </a:lnTo>
                  <a:lnTo>
                    <a:pt x="331" y="262"/>
                  </a:lnTo>
                  <a:lnTo>
                    <a:pt x="343" y="262"/>
                  </a:lnTo>
                  <a:lnTo>
                    <a:pt x="351" y="258"/>
                  </a:lnTo>
                  <a:lnTo>
                    <a:pt x="367" y="250"/>
                  </a:lnTo>
                  <a:lnTo>
                    <a:pt x="371" y="246"/>
                  </a:lnTo>
                  <a:lnTo>
                    <a:pt x="371" y="210"/>
                  </a:lnTo>
                  <a:lnTo>
                    <a:pt x="371" y="165"/>
                  </a:lnTo>
                  <a:lnTo>
                    <a:pt x="371" y="133"/>
                  </a:lnTo>
                  <a:lnTo>
                    <a:pt x="371" y="93"/>
                  </a:lnTo>
                  <a:lnTo>
                    <a:pt x="371" y="77"/>
                  </a:lnTo>
                  <a:lnTo>
                    <a:pt x="367" y="61"/>
                  </a:lnTo>
                  <a:lnTo>
                    <a:pt x="367" y="57"/>
                  </a:lnTo>
                  <a:lnTo>
                    <a:pt x="355" y="53"/>
                  </a:lnTo>
                  <a:lnTo>
                    <a:pt x="355" y="44"/>
                  </a:lnTo>
                  <a:lnTo>
                    <a:pt x="355" y="36"/>
                  </a:lnTo>
                  <a:lnTo>
                    <a:pt x="367" y="24"/>
                  </a:lnTo>
                  <a:lnTo>
                    <a:pt x="371" y="16"/>
                  </a:lnTo>
                  <a:lnTo>
                    <a:pt x="383" y="8"/>
                  </a:lnTo>
                  <a:lnTo>
                    <a:pt x="387" y="0"/>
                  </a:lnTo>
                  <a:lnTo>
                    <a:pt x="407" y="0"/>
                  </a:lnTo>
                  <a:lnTo>
                    <a:pt x="427" y="0"/>
                  </a:lnTo>
                  <a:lnTo>
                    <a:pt x="431" y="4"/>
                  </a:lnTo>
                  <a:lnTo>
                    <a:pt x="435" y="4"/>
                  </a:lnTo>
                  <a:lnTo>
                    <a:pt x="435" y="12"/>
                  </a:lnTo>
                  <a:lnTo>
                    <a:pt x="439" y="20"/>
                  </a:lnTo>
                  <a:lnTo>
                    <a:pt x="431" y="36"/>
                  </a:lnTo>
                  <a:lnTo>
                    <a:pt x="423" y="53"/>
                  </a:lnTo>
                  <a:lnTo>
                    <a:pt x="423" y="69"/>
                  </a:lnTo>
                  <a:lnTo>
                    <a:pt x="419" y="81"/>
                  </a:lnTo>
                  <a:lnTo>
                    <a:pt x="423" y="97"/>
                  </a:lnTo>
                  <a:lnTo>
                    <a:pt x="427" y="105"/>
                  </a:lnTo>
                  <a:lnTo>
                    <a:pt x="439" y="105"/>
                  </a:lnTo>
                  <a:lnTo>
                    <a:pt x="452" y="109"/>
                  </a:lnTo>
                  <a:lnTo>
                    <a:pt x="480" y="109"/>
                  </a:lnTo>
                  <a:lnTo>
                    <a:pt x="504" y="105"/>
                  </a:lnTo>
                  <a:lnTo>
                    <a:pt x="508" y="105"/>
                  </a:lnTo>
                  <a:lnTo>
                    <a:pt x="508" y="101"/>
                  </a:lnTo>
                  <a:lnTo>
                    <a:pt x="536" y="101"/>
                  </a:lnTo>
                  <a:lnTo>
                    <a:pt x="569" y="101"/>
                  </a:lnTo>
                  <a:lnTo>
                    <a:pt x="569" y="97"/>
                  </a:lnTo>
                  <a:lnTo>
                    <a:pt x="577" y="97"/>
                  </a:lnTo>
                  <a:lnTo>
                    <a:pt x="585" y="93"/>
                  </a:lnTo>
                  <a:lnTo>
                    <a:pt x="589" y="93"/>
                  </a:lnTo>
                  <a:lnTo>
                    <a:pt x="597" y="133"/>
                  </a:lnTo>
                  <a:lnTo>
                    <a:pt x="601" y="153"/>
                  </a:lnTo>
                  <a:lnTo>
                    <a:pt x="605" y="214"/>
                  </a:lnTo>
                  <a:lnTo>
                    <a:pt x="613" y="234"/>
                  </a:lnTo>
                  <a:lnTo>
                    <a:pt x="621" y="246"/>
                  </a:lnTo>
                  <a:lnTo>
                    <a:pt x="625" y="258"/>
                  </a:lnTo>
                  <a:lnTo>
                    <a:pt x="633" y="274"/>
                  </a:lnTo>
                  <a:lnTo>
                    <a:pt x="645" y="295"/>
                  </a:lnTo>
                  <a:lnTo>
                    <a:pt x="649" y="299"/>
                  </a:lnTo>
                  <a:lnTo>
                    <a:pt x="657" y="303"/>
                  </a:lnTo>
                  <a:lnTo>
                    <a:pt x="673" y="319"/>
                  </a:lnTo>
                  <a:lnTo>
                    <a:pt x="682" y="335"/>
                  </a:lnTo>
                  <a:lnTo>
                    <a:pt x="686" y="355"/>
                  </a:lnTo>
                  <a:lnTo>
                    <a:pt x="686" y="379"/>
                  </a:lnTo>
                  <a:lnTo>
                    <a:pt x="677" y="399"/>
                  </a:lnTo>
                  <a:lnTo>
                    <a:pt x="661" y="428"/>
                  </a:lnTo>
                  <a:lnTo>
                    <a:pt x="661" y="436"/>
                  </a:lnTo>
                  <a:lnTo>
                    <a:pt x="661" y="456"/>
                  </a:lnTo>
                  <a:lnTo>
                    <a:pt x="677" y="464"/>
                  </a:lnTo>
                  <a:lnTo>
                    <a:pt x="694" y="476"/>
                  </a:lnTo>
                  <a:lnTo>
                    <a:pt x="698" y="484"/>
                  </a:lnTo>
                  <a:lnTo>
                    <a:pt x="702" y="500"/>
                  </a:lnTo>
                  <a:lnTo>
                    <a:pt x="702" y="508"/>
                  </a:lnTo>
                  <a:lnTo>
                    <a:pt x="702" y="516"/>
                  </a:lnTo>
                  <a:lnTo>
                    <a:pt x="706" y="529"/>
                  </a:lnTo>
                  <a:lnTo>
                    <a:pt x="710" y="537"/>
                  </a:lnTo>
                  <a:lnTo>
                    <a:pt x="718" y="549"/>
                  </a:lnTo>
                  <a:lnTo>
                    <a:pt x="726" y="557"/>
                  </a:lnTo>
                  <a:lnTo>
                    <a:pt x="726" y="569"/>
                  </a:lnTo>
                  <a:lnTo>
                    <a:pt x="726" y="577"/>
                  </a:lnTo>
                  <a:lnTo>
                    <a:pt x="722" y="585"/>
                  </a:lnTo>
                  <a:lnTo>
                    <a:pt x="718" y="585"/>
                  </a:lnTo>
                  <a:lnTo>
                    <a:pt x="698" y="593"/>
                  </a:lnTo>
                  <a:lnTo>
                    <a:pt x="677" y="601"/>
                  </a:lnTo>
                  <a:lnTo>
                    <a:pt x="669" y="605"/>
                  </a:lnTo>
                  <a:lnTo>
                    <a:pt x="657" y="613"/>
                  </a:lnTo>
                  <a:lnTo>
                    <a:pt x="641" y="613"/>
                  </a:lnTo>
                  <a:lnTo>
                    <a:pt x="617" y="613"/>
                  </a:lnTo>
                  <a:lnTo>
                    <a:pt x="593" y="625"/>
                  </a:lnTo>
                  <a:lnTo>
                    <a:pt x="565" y="638"/>
                  </a:lnTo>
                  <a:lnTo>
                    <a:pt x="540" y="646"/>
                  </a:lnTo>
                  <a:lnTo>
                    <a:pt x="524" y="658"/>
                  </a:lnTo>
                  <a:lnTo>
                    <a:pt x="516" y="662"/>
                  </a:lnTo>
                  <a:lnTo>
                    <a:pt x="508" y="678"/>
                  </a:lnTo>
                  <a:lnTo>
                    <a:pt x="512" y="682"/>
                  </a:lnTo>
                  <a:lnTo>
                    <a:pt x="512" y="690"/>
                  </a:lnTo>
                  <a:lnTo>
                    <a:pt x="512" y="698"/>
                  </a:lnTo>
                  <a:lnTo>
                    <a:pt x="516" y="698"/>
                  </a:lnTo>
                  <a:lnTo>
                    <a:pt x="528" y="706"/>
                  </a:lnTo>
                  <a:lnTo>
                    <a:pt x="532" y="714"/>
                  </a:lnTo>
                  <a:lnTo>
                    <a:pt x="540" y="722"/>
                  </a:lnTo>
                  <a:lnTo>
                    <a:pt x="560" y="722"/>
                  </a:lnTo>
                  <a:lnTo>
                    <a:pt x="577" y="722"/>
                  </a:lnTo>
                  <a:lnTo>
                    <a:pt x="581" y="718"/>
                  </a:lnTo>
                  <a:lnTo>
                    <a:pt x="589" y="714"/>
                  </a:lnTo>
                  <a:lnTo>
                    <a:pt x="597" y="710"/>
                  </a:lnTo>
                  <a:lnTo>
                    <a:pt x="617" y="710"/>
                  </a:lnTo>
                  <a:lnTo>
                    <a:pt x="625" y="718"/>
                  </a:lnTo>
                  <a:lnTo>
                    <a:pt x="633" y="730"/>
                  </a:lnTo>
                  <a:lnTo>
                    <a:pt x="633" y="738"/>
                  </a:lnTo>
                  <a:lnTo>
                    <a:pt x="633" y="746"/>
                  </a:lnTo>
                  <a:lnTo>
                    <a:pt x="629" y="755"/>
                  </a:lnTo>
                  <a:lnTo>
                    <a:pt x="621" y="763"/>
                  </a:lnTo>
                  <a:lnTo>
                    <a:pt x="601" y="771"/>
                  </a:lnTo>
                  <a:lnTo>
                    <a:pt x="589" y="783"/>
                  </a:lnTo>
                  <a:lnTo>
                    <a:pt x="589" y="795"/>
                  </a:lnTo>
                  <a:lnTo>
                    <a:pt x="585" y="799"/>
                  </a:lnTo>
                  <a:lnTo>
                    <a:pt x="581" y="803"/>
                  </a:lnTo>
                  <a:lnTo>
                    <a:pt x="569" y="807"/>
                  </a:lnTo>
                  <a:lnTo>
                    <a:pt x="560" y="815"/>
                  </a:lnTo>
                  <a:lnTo>
                    <a:pt x="552" y="831"/>
                  </a:lnTo>
                  <a:lnTo>
                    <a:pt x="544" y="831"/>
                  </a:lnTo>
                  <a:lnTo>
                    <a:pt x="532" y="839"/>
                  </a:lnTo>
                  <a:lnTo>
                    <a:pt x="516" y="839"/>
                  </a:lnTo>
                  <a:lnTo>
                    <a:pt x="504" y="839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 sz="1300" b="1"/>
            </a:p>
          </p:txBody>
        </p:sp>
        <p:sp>
          <p:nvSpPr>
            <p:cNvPr id="154" name="Freeform 70"/>
            <p:cNvSpPr>
              <a:spLocks/>
            </p:cNvSpPr>
            <p:nvPr/>
          </p:nvSpPr>
          <p:spPr bwMode="auto">
            <a:xfrm>
              <a:off x="3648159" y="1053432"/>
              <a:ext cx="766762" cy="955000"/>
            </a:xfrm>
            <a:custGeom>
              <a:avLst/>
              <a:gdLst>
                <a:gd name="T0" fmla="*/ 2147483647 w 855"/>
                <a:gd name="T1" fmla="*/ 2147483647 h 1073"/>
                <a:gd name="T2" fmla="*/ 2147483647 w 855"/>
                <a:gd name="T3" fmla="*/ 2147483647 h 1073"/>
                <a:gd name="T4" fmla="*/ 2147483647 w 855"/>
                <a:gd name="T5" fmla="*/ 2147483647 h 1073"/>
                <a:gd name="T6" fmla="*/ 2147483647 w 855"/>
                <a:gd name="T7" fmla="*/ 2147483647 h 1073"/>
                <a:gd name="T8" fmla="*/ 2147483647 w 855"/>
                <a:gd name="T9" fmla="*/ 2147483647 h 1073"/>
                <a:gd name="T10" fmla="*/ 2147483647 w 855"/>
                <a:gd name="T11" fmla="*/ 2147483647 h 1073"/>
                <a:gd name="T12" fmla="*/ 2147483647 w 855"/>
                <a:gd name="T13" fmla="*/ 2147483647 h 1073"/>
                <a:gd name="T14" fmla="*/ 2147483647 w 855"/>
                <a:gd name="T15" fmla="*/ 2147483647 h 1073"/>
                <a:gd name="T16" fmla="*/ 2147483647 w 855"/>
                <a:gd name="T17" fmla="*/ 2147483647 h 1073"/>
                <a:gd name="T18" fmla="*/ 0 w 855"/>
                <a:gd name="T19" fmla="*/ 2147483647 h 1073"/>
                <a:gd name="T20" fmla="*/ 2147483647 w 855"/>
                <a:gd name="T21" fmla="*/ 2147483647 h 1073"/>
                <a:gd name="T22" fmla="*/ 2147483647 w 855"/>
                <a:gd name="T23" fmla="*/ 2147483647 h 1073"/>
                <a:gd name="T24" fmla="*/ 2147483647 w 855"/>
                <a:gd name="T25" fmla="*/ 2147483647 h 1073"/>
                <a:gd name="T26" fmla="*/ 2147483647 w 855"/>
                <a:gd name="T27" fmla="*/ 2147483647 h 1073"/>
                <a:gd name="T28" fmla="*/ 2147483647 w 855"/>
                <a:gd name="T29" fmla="*/ 2147483647 h 1073"/>
                <a:gd name="T30" fmla="*/ 2147483647 w 855"/>
                <a:gd name="T31" fmla="*/ 2147483647 h 1073"/>
                <a:gd name="T32" fmla="*/ 2147483647 w 855"/>
                <a:gd name="T33" fmla="*/ 2147483647 h 1073"/>
                <a:gd name="T34" fmla="*/ 2147483647 w 855"/>
                <a:gd name="T35" fmla="*/ 2147483647 h 1073"/>
                <a:gd name="T36" fmla="*/ 2147483647 w 855"/>
                <a:gd name="T37" fmla="*/ 2147483647 h 1073"/>
                <a:gd name="T38" fmla="*/ 2147483647 w 855"/>
                <a:gd name="T39" fmla="*/ 2147483647 h 1073"/>
                <a:gd name="T40" fmla="*/ 2147483647 w 855"/>
                <a:gd name="T41" fmla="*/ 2147483647 h 1073"/>
                <a:gd name="T42" fmla="*/ 2147483647 w 855"/>
                <a:gd name="T43" fmla="*/ 2147483647 h 1073"/>
                <a:gd name="T44" fmla="*/ 2147483647 w 855"/>
                <a:gd name="T45" fmla="*/ 2147483647 h 1073"/>
                <a:gd name="T46" fmla="*/ 2147483647 w 855"/>
                <a:gd name="T47" fmla="*/ 2147483647 h 1073"/>
                <a:gd name="T48" fmla="*/ 2147483647 w 855"/>
                <a:gd name="T49" fmla="*/ 2147483647 h 1073"/>
                <a:gd name="T50" fmla="*/ 2147483647 w 855"/>
                <a:gd name="T51" fmla="*/ 2147483647 h 1073"/>
                <a:gd name="T52" fmla="*/ 2147483647 w 855"/>
                <a:gd name="T53" fmla="*/ 2147483647 h 1073"/>
                <a:gd name="T54" fmla="*/ 2147483647 w 855"/>
                <a:gd name="T55" fmla="*/ 2147483647 h 1073"/>
                <a:gd name="T56" fmla="*/ 2147483647 w 855"/>
                <a:gd name="T57" fmla="*/ 2147483647 h 1073"/>
                <a:gd name="T58" fmla="*/ 2147483647 w 855"/>
                <a:gd name="T59" fmla="*/ 2147483647 h 1073"/>
                <a:gd name="T60" fmla="*/ 2147483647 w 855"/>
                <a:gd name="T61" fmla="*/ 2147483647 h 1073"/>
                <a:gd name="T62" fmla="*/ 2147483647 w 855"/>
                <a:gd name="T63" fmla="*/ 2147483647 h 1073"/>
                <a:gd name="T64" fmla="*/ 2147483647 w 855"/>
                <a:gd name="T65" fmla="*/ 2147483647 h 1073"/>
                <a:gd name="T66" fmla="*/ 2147483647 w 855"/>
                <a:gd name="T67" fmla="*/ 2147483647 h 1073"/>
                <a:gd name="T68" fmla="*/ 2147483647 w 855"/>
                <a:gd name="T69" fmla="*/ 2147483647 h 1073"/>
                <a:gd name="T70" fmla="*/ 2147483647 w 855"/>
                <a:gd name="T71" fmla="*/ 2147483647 h 1073"/>
                <a:gd name="T72" fmla="*/ 2147483647 w 855"/>
                <a:gd name="T73" fmla="*/ 2147483647 h 1073"/>
                <a:gd name="T74" fmla="*/ 2147483647 w 855"/>
                <a:gd name="T75" fmla="*/ 2147483647 h 1073"/>
                <a:gd name="T76" fmla="*/ 2147483647 w 855"/>
                <a:gd name="T77" fmla="*/ 2147483647 h 1073"/>
                <a:gd name="T78" fmla="*/ 2147483647 w 855"/>
                <a:gd name="T79" fmla="*/ 2147483647 h 1073"/>
                <a:gd name="T80" fmla="*/ 2147483647 w 855"/>
                <a:gd name="T81" fmla="*/ 2147483647 h 1073"/>
                <a:gd name="T82" fmla="*/ 2147483647 w 855"/>
                <a:gd name="T83" fmla="*/ 2147483647 h 1073"/>
                <a:gd name="T84" fmla="*/ 2147483647 w 855"/>
                <a:gd name="T85" fmla="*/ 2147483647 h 1073"/>
                <a:gd name="T86" fmla="*/ 2147483647 w 855"/>
                <a:gd name="T87" fmla="*/ 2147483647 h 1073"/>
                <a:gd name="T88" fmla="*/ 2147483647 w 855"/>
                <a:gd name="T89" fmla="*/ 2147483647 h 1073"/>
                <a:gd name="T90" fmla="*/ 2147483647 w 855"/>
                <a:gd name="T91" fmla="*/ 2147483647 h 1073"/>
                <a:gd name="T92" fmla="*/ 2147483647 w 855"/>
                <a:gd name="T93" fmla="*/ 2147483647 h 1073"/>
                <a:gd name="T94" fmla="*/ 2147483647 w 855"/>
                <a:gd name="T95" fmla="*/ 2147483647 h 1073"/>
                <a:gd name="T96" fmla="*/ 2147483647 w 855"/>
                <a:gd name="T97" fmla="*/ 2147483647 h 1073"/>
                <a:gd name="T98" fmla="*/ 2147483647 w 855"/>
                <a:gd name="T99" fmla="*/ 2147483647 h 1073"/>
                <a:gd name="T100" fmla="*/ 2147483647 w 855"/>
                <a:gd name="T101" fmla="*/ 2147483647 h 1073"/>
                <a:gd name="T102" fmla="*/ 2147483647 w 855"/>
                <a:gd name="T103" fmla="*/ 2147483647 h 1073"/>
                <a:gd name="T104" fmla="*/ 2147483647 w 855"/>
                <a:gd name="T105" fmla="*/ 2147483647 h 1073"/>
                <a:gd name="T106" fmla="*/ 2147483647 w 855"/>
                <a:gd name="T107" fmla="*/ 2147483647 h 1073"/>
                <a:gd name="T108" fmla="*/ 2147483647 w 855"/>
                <a:gd name="T109" fmla="*/ 2147483647 h 1073"/>
                <a:gd name="T110" fmla="*/ 2147483647 w 855"/>
                <a:gd name="T111" fmla="*/ 2147483647 h 1073"/>
                <a:gd name="T112" fmla="*/ 2147483647 w 855"/>
                <a:gd name="T113" fmla="*/ 2147483647 h 107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5"/>
                <a:gd name="T172" fmla="*/ 0 h 1073"/>
                <a:gd name="T173" fmla="*/ 855 w 855"/>
                <a:gd name="T174" fmla="*/ 1073 h 107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5" h="1073">
                  <a:moveTo>
                    <a:pt x="419" y="1073"/>
                  </a:moveTo>
                  <a:lnTo>
                    <a:pt x="411" y="1065"/>
                  </a:lnTo>
                  <a:lnTo>
                    <a:pt x="399" y="1057"/>
                  </a:lnTo>
                  <a:lnTo>
                    <a:pt x="399" y="1045"/>
                  </a:lnTo>
                  <a:lnTo>
                    <a:pt x="391" y="1037"/>
                  </a:lnTo>
                  <a:lnTo>
                    <a:pt x="371" y="1029"/>
                  </a:lnTo>
                  <a:lnTo>
                    <a:pt x="339" y="1013"/>
                  </a:lnTo>
                  <a:lnTo>
                    <a:pt x="327" y="1013"/>
                  </a:lnTo>
                  <a:lnTo>
                    <a:pt x="311" y="1013"/>
                  </a:lnTo>
                  <a:lnTo>
                    <a:pt x="302" y="1009"/>
                  </a:lnTo>
                  <a:lnTo>
                    <a:pt x="298" y="997"/>
                  </a:lnTo>
                  <a:lnTo>
                    <a:pt x="294" y="993"/>
                  </a:lnTo>
                  <a:lnTo>
                    <a:pt x="290" y="977"/>
                  </a:lnTo>
                  <a:lnTo>
                    <a:pt x="278" y="968"/>
                  </a:lnTo>
                  <a:lnTo>
                    <a:pt x="274" y="960"/>
                  </a:lnTo>
                  <a:lnTo>
                    <a:pt x="270" y="936"/>
                  </a:lnTo>
                  <a:lnTo>
                    <a:pt x="270" y="916"/>
                  </a:lnTo>
                  <a:lnTo>
                    <a:pt x="254" y="904"/>
                  </a:lnTo>
                  <a:lnTo>
                    <a:pt x="242" y="888"/>
                  </a:lnTo>
                  <a:lnTo>
                    <a:pt x="226" y="888"/>
                  </a:lnTo>
                  <a:lnTo>
                    <a:pt x="210" y="884"/>
                  </a:lnTo>
                  <a:lnTo>
                    <a:pt x="173" y="884"/>
                  </a:lnTo>
                  <a:lnTo>
                    <a:pt x="137" y="884"/>
                  </a:lnTo>
                  <a:lnTo>
                    <a:pt x="129" y="880"/>
                  </a:lnTo>
                  <a:lnTo>
                    <a:pt x="109" y="876"/>
                  </a:lnTo>
                  <a:lnTo>
                    <a:pt x="109" y="872"/>
                  </a:lnTo>
                  <a:lnTo>
                    <a:pt x="105" y="872"/>
                  </a:lnTo>
                  <a:lnTo>
                    <a:pt x="93" y="851"/>
                  </a:lnTo>
                  <a:lnTo>
                    <a:pt x="81" y="823"/>
                  </a:lnTo>
                  <a:lnTo>
                    <a:pt x="72" y="811"/>
                  </a:lnTo>
                  <a:lnTo>
                    <a:pt x="56" y="795"/>
                  </a:lnTo>
                  <a:lnTo>
                    <a:pt x="48" y="795"/>
                  </a:lnTo>
                  <a:lnTo>
                    <a:pt x="40" y="795"/>
                  </a:lnTo>
                  <a:lnTo>
                    <a:pt x="28" y="799"/>
                  </a:lnTo>
                  <a:lnTo>
                    <a:pt x="24" y="811"/>
                  </a:lnTo>
                  <a:lnTo>
                    <a:pt x="16" y="811"/>
                  </a:lnTo>
                  <a:lnTo>
                    <a:pt x="12" y="811"/>
                  </a:lnTo>
                  <a:lnTo>
                    <a:pt x="4" y="799"/>
                  </a:lnTo>
                  <a:lnTo>
                    <a:pt x="0" y="795"/>
                  </a:lnTo>
                  <a:lnTo>
                    <a:pt x="0" y="779"/>
                  </a:lnTo>
                  <a:lnTo>
                    <a:pt x="0" y="767"/>
                  </a:lnTo>
                  <a:lnTo>
                    <a:pt x="12" y="763"/>
                  </a:lnTo>
                  <a:lnTo>
                    <a:pt x="24" y="755"/>
                  </a:lnTo>
                  <a:lnTo>
                    <a:pt x="44" y="751"/>
                  </a:lnTo>
                  <a:lnTo>
                    <a:pt x="64" y="743"/>
                  </a:lnTo>
                  <a:lnTo>
                    <a:pt x="81" y="743"/>
                  </a:lnTo>
                  <a:lnTo>
                    <a:pt x="97" y="738"/>
                  </a:lnTo>
                  <a:lnTo>
                    <a:pt x="109" y="726"/>
                  </a:lnTo>
                  <a:lnTo>
                    <a:pt x="125" y="706"/>
                  </a:lnTo>
                  <a:lnTo>
                    <a:pt x="129" y="702"/>
                  </a:lnTo>
                  <a:lnTo>
                    <a:pt x="129" y="690"/>
                  </a:lnTo>
                  <a:lnTo>
                    <a:pt x="133" y="662"/>
                  </a:lnTo>
                  <a:lnTo>
                    <a:pt x="137" y="630"/>
                  </a:lnTo>
                  <a:lnTo>
                    <a:pt x="145" y="621"/>
                  </a:lnTo>
                  <a:lnTo>
                    <a:pt x="157" y="617"/>
                  </a:lnTo>
                  <a:lnTo>
                    <a:pt x="161" y="589"/>
                  </a:lnTo>
                  <a:lnTo>
                    <a:pt x="161" y="569"/>
                  </a:lnTo>
                  <a:lnTo>
                    <a:pt x="161" y="545"/>
                  </a:lnTo>
                  <a:lnTo>
                    <a:pt x="157" y="525"/>
                  </a:lnTo>
                  <a:lnTo>
                    <a:pt x="153" y="521"/>
                  </a:lnTo>
                  <a:lnTo>
                    <a:pt x="145" y="517"/>
                  </a:lnTo>
                  <a:lnTo>
                    <a:pt x="145" y="504"/>
                  </a:lnTo>
                  <a:lnTo>
                    <a:pt x="141" y="484"/>
                  </a:lnTo>
                  <a:lnTo>
                    <a:pt x="141" y="476"/>
                  </a:lnTo>
                  <a:lnTo>
                    <a:pt x="141" y="464"/>
                  </a:lnTo>
                  <a:lnTo>
                    <a:pt x="145" y="444"/>
                  </a:lnTo>
                  <a:lnTo>
                    <a:pt x="145" y="428"/>
                  </a:lnTo>
                  <a:lnTo>
                    <a:pt x="157" y="416"/>
                  </a:lnTo>
                  <a:lnTo>
                    <a:pt x="161" y="404"/>
                  </a:lnTo>
                  <a:lnTo>
                    <a:pt x="177" y="387"/>
                  </a:lnTo>
                  <a:lnTo>
                    <a:pt x="198" y="371"/>
                  </a:lnTo>
                  <a:lnTo>
                    <a:pt x="214" y="367"/>
                  </a:lnTo>
                  <a:lnTo>
                    <a:pt x="234" y="363"/>
                  </a:lnTo>
                  <a:lnTo>
                    <a:pt x="242" y="355"/>
                  </a:lnTo>
                  <a:lnTo>
                    <a:pt x="246" y="351"/>
                  </a:lnTo>
                  <a:lnTo>
                    <a:pt x="270" y="347"/>
                  </a:lnTo>
                  <a:lnTo>
                    <a:pt x="294" y="339"/>
                  </a:lnTo>
                  <a:lnTo>
                    <a:pt x="302" y="327"/>
                  </a:lnTo>
                  <a:lnTo>
                    <a:pt x="311" y="311"/>
                  </a:lnTo>
                  <a:lnTo>
                    <a:pt x="319" y="311"/>
                  </a:lnTo>
                  <a:lnTo>
                    <a:pt x="323" y="307"/>
                  </a:lnTo>
                  <a:lnTo>
                    <a:pt x="327" y="291"/>
                  </a:lnTo>
                  <a:lnTo>
                    <a:pt x="331" y="266"/>
                  </a:lnTo>
                  <a:lnTo>
                    <a:pt x="347" y="262"/>
                  </a:lnTo>
                  <a:lnTo>
                    <a:pt x="355" y="254"/>
                  </a:lnTo>
                  <a:lnTo>
                    <a:pt x="359" y="250"/>
                  </a:lnTo>
                  <a:lnTo>
                    <a:pt x="363" y="238"/>
                  </a:lnTo>
                  <a:lnTo>
                    <a:pt x="363" y="230"/>
                  </a:lnTo>
                  <a:lnTo>
                    <a:pt x="363" y="222"/>
                  </a:lnTo>
                  <a:lnTo>
                    <a:pt x="359" y="214"/>
                  </a:lnTo>
                  <a:lnTo>
                    <a:pt x="351" y="202"/>
                  </a:lnTo>
                  <a:lnTo>
                    <a:pt x="335" y="202"/>
                  </a:lnTo>
                  <a:lnTo>
                    <a:pt x="319" y="202"/>
                  </a:lnTo>
                  <a:lnTo>
                    <a:pt x="306" y="194"/>
                  </a:lnTo>
                  <a:lnTo>
                    <a:pt x="294" y="186"/>
                  </a:lnTo>
                  <a:lnTo>
                    <a:pt x="270" y="186"/>
                  </a:lnTo>
                  <a:lnTo>
                    <a:pt x="250" y="186"/>
                  </a:lnTo>
                  <a:lnTo>
                    <a:pt x="226" y="178"/>
                  </a:lnTo>
                  <a:lnTo>
                    <a:pt x="198" y="170"/>
                  </a:lnTo>
                  <a:lnTo>
                    <a:pt x="198" y="166"/>
                  </a:lnTo>
                  <a:lnTo>
                    <a:pt x="194" y="166"/>
                  </a:lnTo>
                  <a:lnTo>
                    <a:pt x="189" y="153"/>
                  </a:lnTo>
                  <a:lnTo>
                    <a:pt x="194" y="145"/>
                  </a:lnTo>
                  <a:lnTo>
                    <a:pt x="226" y="141"/>
                  </a:lnTo>
                  <a:lnTo>
                    <a:pt x="262" y="137"/>
                  </a:lnTo>
                  <a:lnTo>
                    <a:pt x="278" y="117"/>
                  </a:lnTo>
                  <a:lnTo>
                    <a:pt x="294" y="101"/>
                  </a:lnTo>
                  <a:lnTo>
                    <a:pt x="294" y="93"/>
                  </a:lnTo>
                  <a:lnTo>
                    <a:pt x="298" y="81"/>
                  </a:lnTo>
                  <a:lnTo>
                    <a:pt x="302" y="69"/>
                  </a:lnTo>
                  <a:lnTo>
                    <a:pt x="311" y="57"/>
                  </a:lnTo>
                  <a:lnTo>
                    <a:pt x="319" y="57"/>
                  </a:lnTo>
                  <a:lnTo>
                    <a:pt x="327" y="53"/>
                  </a:lnTo>
                  <a:lnTo>
                    <a:pt x="335" y="53"/>
                  </a:lnTo>
                  <a:lnTo>
                    <a:pt x="351" y="53"/>
                  </a:lnTo>
                  <a:lnTo>
                    <a:pt x="363" y="57"/>
                  </a:lnTo>
                  <a:lnTo>
                    <a:pt x="371" y="65"/>
                  </a:lnTo>
                  <a:lnTo>
                    <a:pt x="375" y="73"/>
                  </a:lnTo>
                  <a:lnTo>
                    <a:pt x="387" y="85"/>
                  </a:lnTo>
                  <a:lnTo>
                    <a:pt x="444" y="85"/>
                  </a:lnTo>
                  <a:lnTo>
                    <a:pt x="496" y="93"/>
                  </a:lnTo>
                  <a:lnTo>
                    <a:pt x="500" y="85"/>
                  </a:lnTo>
                  <a:lnTo>
                    <a:pt x="508" y="81"/>
                  </a:lnTo>
                  <a:lnTo>
                    <a:pt x="516" y="81"/>
                  </a:lnTo>
                  <a:lnTo>
                    <a:pt x="520" y="69"/>
                  </a:lnTo>
                  <a:lnTo>
                    <a:pt x="520" y="65"/>
                  </a:lnTo>
                  <a:lnTo>
                    <a:pt x="520" y="57"/>
                  </a:lnTo>
                  <a:lnTo>
                    <a:pt x="520" y="45"/>
                  </a:lnTo>
                  <a:lnTo>
                    <a:pt x="516" y="32"/>
                  </a:lnTo>
                  <a:lnTo>
                    <a:pt x="504" y="32"/>
                  </a:lnTo>
                  <a:lnTo>
                    <a:pt x="500" y="28"/>
                  </a:lnTo>
                  <a:lnTo>
                    <a:pt x="496" y="16"/>
                  </a:lnTo>
                  <a:lnTo>
                    <a:pt x="500" y="0"/>
                  </a:lnTo>
                  <a:lnTo>
                    <a:pt x="520" y="4"/>
                  </a:lnTo>
                  <a:lnTo>
                    <a:pt x="553" y="12"/>
                  </a:lnTo>
                  <a:lnTo>
                    <a:pt x="557" y="12"/>
                  </a:lnTo>
                  <a:lnTo>
                    <a:pt x="565" y="16"/>
                  </a:lnTo>
                  <a:lnTo>
                    <a:pt x="569" y="45"/>
                  </a:lnTo>
                  <a:lnTo>
                    <a:pt x="577" y="73"/>
                  </a:lnTo>
                  <a:lnTo>
                    <a:pt x="585" y="85"/>
                  </a:lnTo>
                  <a:lnTo>
                    <a:pt x="609" y="117"/>
                  </a:lnTo>
                  <a:lnTo>
                    <a:pt x="621" y="117"/>
                  </a:lnTo>
                  <a:lnTo>
                    <a:pt x="641" y="121"/>
                  </a:lnTo>
                  <a:lnTo>
                    <a:pt x="645" y="129"/>
                  </a:lnTo>
                  <a:lnTo>
                    <a:pt x="649" y="158"/>
                  </a:lnTo>
                  <a:lnTo>
                    <a:pt x="649" y="206"/>
                  </a:lnTo>
                  <a:lnTo>
                    <a:pt x="657" y="210"/>
                  </a:lnTo>
                  <a:lnTo>
                    <a:pt x="661" y="214"/>
                  </a:lnTo>
                  <a:lnTo>
                    <a:pt x="666" y="214"/>
                  </a:lnTo>
                  <a:lnTo>
                    <a:pt x="674" y="214"/>
                  </a:lnTo>
                  <a:lnTo>
                    <a:pt x="682" y="214"/>
                  </a:lnTo>
                  <a:lnTo>
                    <a:pt x="682" y="210"/>
                  </a:lnTo>
                  <a:lnTo>
                    <a:pt x="690" y="214"/>
                  </a:lnTo>
                  <a:lnTo>
                    <a:pt x="694" y="214"/>
                  </a:lnTo>
                  <a:lnTo>
                    <a:pt x="686" y="230"/>
                  </a:lnTo>
                  <a:lnTo>
                    <a:pt x="682" y="254"/>
                  </a:lnTo>
                  <a:lnTo>
                    <a:pt x="682" y="279"/>
                  </a:lnTo>
                  <a:lnTo>
                    <a:pt x="686" y="303"/>
                  </a:lnTo>
                  <a:lnTo>
                    <a:pt x="694" y="311"/>
                  </a:lnTo>
                  <a:lnTo>
                    <a:pt x="702" y="315"/>
                  </a:lnTo>
                  <a:lnTo>
                    <a:pt x="726" y="327"/>
                  </a:lnTo>
                  <a:lnTo>
                    <a:pt x="750" y="339"/>
                  </a:lnTo>
                  <a:lnTo>
                    <a:pt x="754" y="343"/>
                  </a:lnTo>
                  <a:lnTo>
                    <a:pt x="762" y="351"/>
                  </a:lnTo>
                  <a:lnTo>
                    <a:pt x="770" y="351"/>
                  </a:lnTo>
                  <a:lnTo>
                    <a:pt x="774" y="351"/>
                  </a:lnTo>
                  <a:lnTo>
                    <a:pt x="778" y="367"/>
                  </a:lnTo>
                  <a:lnTo>
                    <a:pt x="778" y="379"/>
                  </a:lnTo>
                  <a:lnTo>
                    <a:pt x="774" y="400"/>
                  </a:lnTo>
                  <a:lnTo>
                    <a:pt x="762" y="412"/>
                  </a:lnTo>
                  <a:lnTo>
                    <a:pt x="758" y="420"/>
                  </a:lnTo>
                  <a:lnTo>
                    <a:pt x="754" y="428"/>
                  </a:lnTo>
                  <a:lnTo>
                    <a:pt x="754" y="460"/>
                  </a:lnTo>
                  <a:lnTo>
                    <a:pt x="754" y="488"/>
                  </a:lnTo>
                  <a:lnTo>
                    <a:pt x="754" y="500"/>
                  </a:lnTo>
                  <a:lnTo>
                    <a:pt x="758" y="509"/>
                  </a:lnTo>
                  <a:lnTo>
                    <a:pt x="787" y="533"/>
                  </a:lnTo>
                  <a:lnTo>
                    <a:pt x="803" y="557"/>
                  </a:lnTo>
                  <a:lnTo>
                    <a:pt x="803" y="569"/>
                  </a:lnTo>
                  <a:lnTo>
                    <a:pt x="807" y="573"/>
                  </a:lnTo>
                  <a:lnTo>
                    <a:pt x="823" y="597"/>
                  </a:lnTo>
                  <a:lnTo>
                    <a:pt x="835" y="630"/>
                  </a:lnTo>
                  <a:lnTo>
                    <a:pt x="835" y="638"/>
                  </a:lnTo>
                  <a:lnTo>
                    <a:pt x="839" y="654"/>
                  </a:lnTo>
                  <a:lnTo>
                    <a:pt x="851" y="658"/>
                  </a:lnTo>
                  <a:lnTo>
                    <a:pt x="855" y="662"/>
                  </a:lnTo>
                  <a:lnTo>
                    <a:pt x="855" y="670"/>
                  </a:lnTo>
                  <a:lnTo>
                    <a:pt x="855" y="674"/>
                  </a:lnTo>
                  <a:lnTo>
                    <a:pt x="851" y="682"/>
                  </a:lnTo>
                  <a:lnTo>
                    <a:pt x="843" y="686"/>
                  </a:lnTo>
                  <a:lnTo>
                    <a:pt x="839" y="698"/>
                  </a:lnTo>
                  <a:lnTo>
                    <a:pt x="839" y="706"/>
                  </a:lnTo>
                  <a:lnTo>
                    <a:pt x="831" y="714"/>
                  </a:lnTo>
                  <a:lnTo>
                    <a:pt x="823" y="722"/>
                  </a:lnTo>
                  <a:lnTo>
                    <a:pt x="803" y="726"/>
                  </a:lnTo>
                  <a:lnTo>
                    <a:pt x="791" y="730"/>
                  </a:lnTo>
                  <a:lnTo>
                    <a:pt x="787" y="738"/>
                  </a:lnTo>
                  <a:lnTo>
                    <a:pt x="778" y="743"/>
                  </a:lnTo>
                  <a:lnTo>
                    <a:pt x="774" y="759"/>
                  </a:lnTo>
                  <a:lnTo>
                    <a:pt x="762" y="775"/>
                  </a:lnTo>
                  <a:lnTo>
                    <a:pt x="758" y="779"/>
                  </a:lnTo>
                  <a:lnTo>
                    <a:pt x="754" y="787"/>
                  </a:lnTo>
                  <a:lnTo>
                    <a:pt x="738" y="795"/>
                  </a:lnTo>
                  <a:lnTo>
                    <a:pt x="714" y="803"/>
                  </a:lnTo>
                  <a:lnTo>
                    <a:pt x="714" y="811"/>
                  </a:lnTo>
                  <a:lnTo>
                    <a:pt x="710" y="819"/>
                  </a:lnTo>
                  <a:lnTo>
                    <a:pt x="710" y="823"/>
                  </a:lnTo>
                  <a:lnTo>
                    <a:pt x="714" y="827"/>
                  </a:lnTo>
                  <a:lnTo>
                    <a:pt x="710" y="839"/>
                  </a:lnTo>
                  <a:lnTo>
                    <a:pt x="710" y="916"/>
                  </a:lnTo>
                  <a:lnTo>
                    <a:pt x="702" y="920"/>
                  </a:lnTo>
                  <a:lnTo>
                    <a:pt x="694" y="928"/>
                  </a:lnTo>
                  <a:lnTo>
                    <a:pt x="674" y="936"/>
                  </a:lnTo>
                  <a:lnTo>
                    <a:pt x="657" y="952"/>
                  </a:lnTo>
                  <a:lnTo>
                    <a:pt x="613" y="952"/>
                  </a:lnTo>
                  <a:lnTo>
                    <a:pt x="569" y="952"/>
                  </a:lnTo>
                  <a:lnTo>
                    <a:pt x="549" y="968"/>
                  </a:lnTo>
                  <a:lnTo>
                    <a:pt x="540" y="977"/>
                  </a:lnTo>
                  <a:lnTo>
                    <a:pt x="544" y="985"/>
                  </a:lnTo>
                  <a:lnTo>
                    <a:pt x="544" y="989"/>
                  </a:lnTo>
                  <a:lnTo>
                    <a:pt x="524" y="1009"/>
                  </a:lnTo>
                  <a:lnTo>
                    <a:pt x="500" y="1029"/>
                  </a:lnTo>
                  <a:lnTo>
                    <a:pt x="492" y="1029"/>
                  </a:lnTo>
                  <a:lnTo>
                    <a:pt x="484" y="1033"/>
                  </a:lnTo>
                  <a:lnTo>
                    <a:pt x="472" y="1041"/>
                  </a:lnTo>
                  <a:lnTo>
                    <a:pt x="464" y="1049"/>
                  </a:lnTo>
                  <a:lnTo>
                    <a:pt x="452" y="1061"/>
                  </a:lnTo>
                  <a:lnTo>
                    <a:pt x="444" y="1073"/>
                  </a:lnTo>
                  <a:lnTo>
                    <a:pt x="436" y="1073"/>
                  </a:lnTo>
                  <a:lnTo>
                    <a:pt x="419" y="1073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ru-RU" sz="1300" b="1">
                <a:latin typeface="Calibri" pitchFamily="34" charset="0"/>
                <a:cs typeface="+mn-cs"/>
              </a:endParaRPr>
            </a:p>
          </p:txBody>
        </p:sp>
        <p:sp>
          <p:nvSpPr>
            <p:cNvPr id="155" name="Text Box 74"/>
            <p:cNvSpPr txBox="1">
              <a:spLocks noChangeArrowheads="1"/>
            </p:cNvSpPr>
            <p:nvPr/>
          </p:nvSpPr>
          <p:spPr bwMode="auto">
            <a:xfrm>
              <a:off x="6049489" y="3050887"/>
              <a:ext cx="1252538" cy="2545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Тукаевский</a:t>
              </a:r>
              <a:endParaRPr lang="ru-RU" sz="1200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Text Box 75"/>
            <p:cNvSpPr txBox="1">
              <a:spLocks noChangeArrowheads="1"/>
            </p:cNvSpPr>
            <p:nvPr/>
          </p:nvSpPr>
          <p:spPr bwMode="auto">
            <a:xfrm>
              <a:off x="3779912" y="5247826"/>
              <a:ext cx="1327150" cy="2642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Нурлатский</a:t>
              </a:r>
              <a:endParaRPr lang="ru-RU" sz="1200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Text Box 76"/>
            <p:cNvSpPr txBox="1">
              <a:spLocks noChangeArrowheads="1"/>
            </p:cNvSpPr>
            <p:nvPr/>
          </p:nvSpPr>
          <p:spPr bwMode="auto">
            <a:xfrm>
              <a:off x="5691658" y="5221548"/>
              <a:ext cx="1544638" cy="239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algn="ctr">
                <a:defRPr sz="1400" b="1">
                  <a:cs typeface="Arial" pitchFamily="34" charset="0"/>
                </a:defRPr>
              </a:lvl1pPr>
            </a:lstStyle>
            <a:p>
              <a:r>
                <a:rPr lang="ru-RU" sz="1200" b="0" dirty="0">
                  <a:latin typeface="Arial" panose="020B0604020202020204" pitchFamily="34" charset="0"/>
                </a:rPr>
                <a:t>Лениногорский</a:t>
              </a:r>
            </a:p>
          </p:txBody>
        </p:sp>
        <p:sp>
          <p:nvSpPr>
            <p:cNvPr id="158" name="Text Box 77"/>
            <p:cNvSpPr txBox="1">
              <a:spLocks noChangeArrowheads="1"/>
            </p:cNvSpPr>
            <p:nvPr/>
          </p:nvSpPr>
          <p:spPr bwMode="auto">
            <a:xfrm>
              <a:off x="5601171" y="4534887"/>
              <a:ext cx="1635125" cy="246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льметьевский</a:t>
              </a:r>
            </a:p>
          </p:txBody>
        </p:sp>
        <p:sp>
          <p:nvSpPr>
            <p:cNvPr id="159" name="Text Box 78"/>
            <p:cNvSpPr txBox="1">
              <a:spLocks noChangeArrowheads="1"/>
            </p:cNvSpPr>
            <p:nvPr/>
          </p:nvSpPr>
          <p:spPr bwMode="auto">
            <a:xfrm>
              <a:off x="5807207" y="3692983"/>
              <a:ext cx="1084263" cy="246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Заинский</a:t>
              </a:r>
              <a:endParaRPr lang="ru-RU" sz="1200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Text Box 79"/>
            <p:cNvSpPr txBox="1">
              <a:spLocks noChangeArrowheads="1"/>
            </p:cNvSpPr>
            <p:nvPr/>
          </p:nvSpPr>
          <p:spPr bwMode="auto">
            <a:xfrm>
              <a:off x="4413843" y="2931427"/>
              <a:ext cx="1490662" cy="262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амадышский</a:t>
              </a:r>
            </a:p>
          </p:txBody>
        </p:sp>
        <p:sp>
          <p:nvSpPr>
            <p:cNvPr id="161" name="Text Box 80"/>
            <p:cNvSpPr txBox="1">
              <a:spLocks noChangeArrowheads="1"/>
            </p:cNvSpPr>
            <p:nvPr/>
          </p:nvSpPr>
          <p:spPr bwMode="auto">
            <a:xfrm>
              <a:off x="3453395" y="3098444"/>
              <a:ext cx="1487488" cy="244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Р.Слободский</a:t>
              </a:r>
            </a:p>
          </p:txBody>
        </p:sp>
        <p:sp>
          <p:nvSpPr>
            <p:cNvPr id="162" name="Text Box 81"/>
            <p:cNvSpPr txBox="1">
              <a:spLocks noChangeArrowheads="1"/>
            </p:cNvSpPr>
            <p:nvPr/>
          </p:nvSpPr>
          <p:spPr bwMode="auto">
            <a:xfrm>
              <a:off x="3645777" y="2147689"/>
              <a:ext cx="1254125" cy="2513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абинский</a:t>
              </a:r>
            </a:p>
          </p:txBody>
        </p:sp>
        <p:sp>
          <p:nvSpPr>
            <p:cNvPr id="163" name="Text Box 82"/>
            <p:cNvSpPr txBox="1">
              <a:spLocks noChangeArrowheads="1"/>
            </p:cNvSpPr>
            <p:nvPr/>
          </p:nvSpPr>
          <p:spPr bwMode="auto">
            <a:xfrm>
              <a:off x="3582309" y="2479926"/>
              <a:ext cx="1404938" cy="2124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Тюлячинский</a:t>
              </a:r>
            </a:p>
          </p:txBody>
        </p:sp>
        <p:sp>
          <p:nvSpPr>
            <p:cNvPr id="164" name="Text Box 83"/>
            <p:cNvSpPr txBox="1">
              <a:spLocks noChangeArrowheads="1"/>
            </p:cNvSpPr>
            <p:nvPr/>
          </p:nvSpPr>
          <p:spPr bwMode="auto">
            <a:xfrm>
              <a:off x="3174643" y="1910031"/>
              <a:ext cx="922337" cy="2545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рский</a:t>
              </a:r>
            </a:p>
          </p:txBody>
        </p:sp>
        <p:sp>
          <p:nvSpPr>
            <p:cNvPr id="165" name="Text Box 88"/>
            <p:cNvSpPr txBox="1">
              <a:spLocks noChangeArrowheads="1"/>
            </p:cNvSpPr>
            <p:nvPr/>
          </p:nvSpPr>
          <p:spPr bwMode="auto">
            <a:xfrm>
              <a:off x="1345238" y="3005017"/>
              <a:ext cx="1439862" cy="2598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.Услонский</a:t>
              </a:r>
            </a:p>
          </p:txBody>
        </p:sp>
        <p:sp>
          <p:nvSpPr>
            <p:cNvPr id="166" name="Text Box 90"/>
            <p:cNvSpPr txBox="1">
              <a:spLocks noChangeArrowheads="1"/>
            </p:cNvSpPr>
            <p:nvPr/>
          </p:nvSpPr>
          <p:spPr bwMode="auto">
            <a:xfrm>
              <a:off x="1988379" y="3714769"/>
              <a:ext cx="1555750" cy="244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К.Устьинский</a:t>
              </a:r>
            </a:p>
          </p:txBody>
        </p:sp>
        <p:sp>
          <p:nvSpPr>
            <p:cNvPr id="167" name="Text Box 92"/>
            <p:cNvSpPr txBox="1">
              <a:spLocks noChangeArrowheads="1"/>
            </p:cNvSpPr>
            <p:nvPr/>
          </p:nvSpPr>
          <p:spPr bwMode="auto">
            <a:xfrm>
              <a:off x="1404228" y="4756455"/>
              <a:ext cx="1211262" cy="246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Тетюшский</a:t>
              </a:r>
            </a:p>
          </p:txBody>
        </p:sp>
        <p:sp>
          <p:nvSpPr>
            <p:cNvPr id="168" name="Text Box 94"/>
            <p:cNvSpPr txBox="1">
              <a:spLocks noChangeArrowheads="1"/>
            </p:cNvSpPr>
            <p:nvPr/>
          </p:nvSpPr>
          <p:spPr bwMode="auto">
            <a:xfrm>
              <a:off x="2303903" y="4464088"/>
              <a:ext cx="1160462" cy="2529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пасский</a:t>
              </a:r>
            </a:p>
          </p:txBody>
        </p:sp>
        <p:sp>
          <p:nvSpPr>
            <p:cNvPr id="169" name="Text Box 95"/>
            <p:cNvSpPr txBox="1">
              <a:spLocks noChangeArrowheads="1"/>
            </p:cNvSpPr>
            <p:nvPr/>
          </p:nvSpPr>
          <p:spPr bwMode="auto">
            <a:xfrm>
              <a:off x="3032909" y="4770185"/>
              <a:ext cx="1439863" cy="2723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лькеевский</a:t>
              </a:r>
            </a:p>
          </p:txBody>
        </p:sp>
        <p:sp>
          <p:nvSpPr>
            <p:cNvPr id="170" name="Text Box 96"/>
            <p:cNvSpPr txBox="1">
              <a:spLocks noChangeArrowheads="1"/>
            </p:cNvSpPr>
            <p:nvPr/>
          </p:nvSpPr>
          <p:spPr bwMode="auto">
            <a:xfrm>
              <a:off x="2863229" y="4067639"/>
              <a:ext cx="1503363" cy="27077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лексеевский</a:t>
              </a:r>
            </a:p>
          </p:txBody>
        </p:sp>
        <p:sp>
          <p:nvSpPr>
            <p:cNvPr id="171" name="Text Box 97"/>
            <p:cNvSpPr txBox="1">
              <a:spLocks noChangeArrowheads="1"/>
            </p:cNvSpPr>
            <p:nvPr/>
          </p:nvSpPr>
          <p:spPr bwMode="auto">
            <a:xfrm>
              <a:off x="3710439" y="3815300"/>
              <a:ext cx="1644650" cy="2545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Чистопольский</a:t>
              </a:r>
            </a:p>
          </p:txBody>
        </p:sp>
        <p:sp>
          <p:nvSpPr>
            <p:cNvPr id="172" name="Text Box 98"/>
            <p:cNvSpPr txBox="1">
              <a:spLocks noChangeArrowheads="1"/>
            </p:cNvSpPr>
            <p:nvPr/>
          </p:nvSpPr>
          <p:spPr bwMode="auto">
            <a:xfrm>
              <a:off x="3929146" y="4519732"/>
              <a:ext cx="1439863" cy="2367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ксубаевский</a:t>
              </a:r>
            </a:p>
          </p:txBody>
        </p:sp>
        <p:sp>
          <p:nvSpPr>
            <p:cNvPr id="173" name="Text Box 99"/>
            <p:cNvSpPr txBox="1">
              <a:spLocks noChangeArrowheads="1"/>
            </p:cNvSpPr>
            <p:nvPr/>
          </p:nvSpPr>
          <p:spPr bwMode="auto">
            <a:xfrm>
              <a:off x="4698702" y="4216942"/>
              <a:ext cx="1638300" cy="2448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Н.Шешминский</a:t>
              </a:r>
            </a:p>
          </p:txBody>
        </p:sp>
        <p:sp>
          <p:nvSpPr>
            <p:cNvPr id="174" name="Text Box 100"/>
            <p:cNvSpPr txBox="1">
              <a:spLocks noChangeArrowheads="1"/>
            </p:cNvSpPr>
            <p:nvPr/>
          </p:nvSpPr>
          <p:spPr bwMode="auto">
            <a:xfrm>
              <a:off x="4785303" y="3365383"/>
              <a:ext cx="1489075" cy="2367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Нижнекамский</a:t>
              </a:r>
            </a:p>
          </p:txBody>
        </p:sp>
        <p:sp>
          <p:nvSpPr>
            <p:cNvPr id="175" name="Text Box 101"/>
            <p:cNvSpPr txBox="1">
              <a:spLocks noChangeArrowheads="1"/>
            </p:cNvSpPr>
            <p:nvPr/>
          </p:nvSpPr>
          <p:spPr bwMode="auto">
            <a:xfrm>
              <a:off x="2321499" y="3222462"/>
              <a:ext cx="1317625" cy="2367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Лаишевский</a:t>
              </a:r>
            </a:p>
          </p:txBody>
        </p:sp>
        <p:sp>
          <p:nvSpPr>
            <p:cNvPr id="176" name="Text Box 102"/>
            <p:cNvSpPr txBox="1">
              <a:spLocks noChangeArrowheads="1"/>
            </p:cNvSpPr>
            <p:nvPr/>
          </p:nvSpPr>
          <p:spPr bwMode="auto">
            <a:xfrm>
              <a:off x="2449086" y="2682627"/>
              <a:ext cx="1819275" cy="246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3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естречинский</a:t>
              </a:r>
            </a:p>
          </p:txBody>
        </p:sp>
        <p:sp>
          <p:nvSpPr>
            <p:cNvPr id="177" name="Text Box 103"/>
            <p:cNvSpPr txBox="1">
              <a:spLocks noChangeArrowheads="1"/>
            </p:cNvSpPr>
            <p:nvPr/>
          </p:nvSpPr>
          <p:spPr bwMode="auto">
            <a:xfrm>
              <a:off x="4812570" y="4805413"/>
              <a:ext cx="1703387" cy="2367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Черемшанский</a:t>
              </a:r>
            </a:p>
          </p:txBody>
        </p:sp>
        <p:sp>
          <p:nvSpPr>
            <p:cNvPr id="178" name="Text Box 104"/>
            <p:cNvSpPr txBox="1">
              <a:spLocks noChangeArrowheads="1"/>
            </p:cNvSpPr>
            <p:nvPr/>
          </p:nvSpPr>
          <p:spPr bwMode="auto">
            <a:xfrm>
              <a:off x="5145633" y="2426327"/>
              <a:ext cx="1298575" cy="246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Елабужский</a:t>
              </a:r>
            </a:p>
          </p:txBody>
        </p:sp>
        <p:sp>
          <p:nvSpPr>
            <p:cNvPr id="179" name="Text Box 138"/>
            <p:cNvSpPr txBox="1">
              <a:spLocks noChangeArrowheads="1"/>
            </p:cNvSpPr>
            <p:nvPr/>
          </p:nvSpPr>
          <p:spPr bwMode="auto">
            <a:xfrm>
              <a:off x="2033504" y="2529795"/>
              <a:ext cx="962025" cy="2983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400" b="1" dirty="0" smtClean="0">
                  <a:solidFill>
                    <a:srgbClr val="C00000"/>
                  </a:solidFill>
                  <a:cs typeface="Arial" pitchFamily="34" charset="0"/>
                </a:rPr>
                <a:t>Казань</a:t>
              </a:r>
            </a:p>
          </p:txBody>
        </p:sp>
        <p:sp>
          <p:nvSpPr>
            <p:cNvPr id="180" name="Text Box 150"/>
            <p:cNvSpPr txBox="1">
              <a:spLocks noChangeArrowheads="1"/>
            </p:cNvSpPr>
            <p:nvPr/>
          </p:nvSpPr>
          <p:spPr bwMode="auto">
            <a:xfrm>
              <a:off x="6573998" y="3680308"/>
              <a:ext cx="1544638" cy="239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армановский</a:t>
              </a:r>
            </a:p>
          </p:txBody>
        </p:sp>
        <p:sp>
          <p:nvSpPr>
            <p:cNvPr id="181" name="Text Box 152"/>
            <p:cNvSpPr txBox="1">
              <a:spLocks noChangeArrowheads="1"/>
            </p:cNvSpPr>
            <p:nvPr/>
          </p:nvSpPr>
          <p:spPr bwMode="auto">
            <a:xfrm>
              <a:off x="7013398" y="3017515"/>
              <a:ext cx="1546225" cy="2399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ензелинский</a:t>
              </a:r>
            </a:p>
          </p:txBody>
        </p:sp>
        <p:sp>
          <p:nvSpPr>
            <p:cNvPr id="182" name="Text Box 71"/>
            <p:cNvSpPr txBox="1">
              <a:spLocks noChangeArrowheads="1"/>
            </p:cNvSpPr>
            <p:nvPr/>
          </p:nvSpPr>
          <p:spPr bwMode="auto">
            <a:xfrm>
              <a:off x="3567276" y="1153778"/>
              <a:ext cx="1462088" cy="2886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алтасинский</a:t>
              </a:r>
            </a:p>
          </p:txBody>
        </p:sp>
        <p:sp>
          <p:nvSpPr>
            <p:cNvPr id="183" name="Text Box 72"/>
            <p:cNvSpPr txBox="1">
              <a:spLocks noChangeArrowheads="1"/>
            </p:cNvSpPr>
            <p:nvPr/>
          </p:nvSpPr>
          <p:spPr bwMode="auto">
            <a:xfrm>
              <a:off x="4193038" y="1776377"/>
              <a:ext cx="1252537" cy="2432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Кукморский</a:t>
              </a:r>
            </a:p>
          </p:txBody>
        </p:sp>
        <p:sp>
          <p:nvSpPr>
            <p:cNvPr id="184" name="Text Box 73"/>
            <p:cNvSpPr txBox="1">
              <a:spLocks noChangeArrowheads="1"/>
            </p:cNvSpPr>
            <p:nvPr/>
          </p:nvSpPr>
          <p:spPr bwMode="auto">
            <a:xfrm>
              <a:off x="5522813" y="2096312"/>
              <a:ext cx="1641475" cy="246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енделеевский</a:t>
              </a:r>
            </a:p>
          </p:txBody>
        </p:sp>
        <p:sp>
          <p:nvSpPr>
            <p:cNvPr id="185" name="Text Box 84"/>
            <p:cNvSpPr txBox="1">
              <a:spLocks noChangeArrowheads="1"/>
            </p:cNvSpPr>
            <p:nvPr/>
          </p:nvSpPr>
          <p:spPr bwMode="auto">
            <a:xfrm>
              <a:off x="2217798" y="2083103"/>
              <a:ext cx="1252537" cy="2805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.Горский</a:t>
              </a:r>
            </a:p>
          </p:txBody>
        </p:sp>
        <p:sp>
          <p:nvSpPr>
            <p:cNvPr id="186" name="Text Box 85"/>
            <p:cNvSpPr txBox="1">
              <a:spLocks noChangeArrowheads="1"/>
            </p:cNvSpPr>
            <p:nvPr/>
          </p:nvSpPr>
          <p:spPr bwMode="auto">
            <a:xfrm>
              <a:off x="2254510" y="1522063"/>
              <a:ext cx="1157287" cy="2675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тнинский</a:t>
              </a:r>
            </a:p>
          </p:txBody>
        </p:sp>
        <p:sp>
          <p:nvSpPr>
            <p:cNvPr id="187" name="Text Box 86"/>
            <p:cNvSpPr txBox="1">
              <a:spLocks noChangeArrowheads="1"/>
            </p:cNvSpPr>
            <p:nvPr/>
          </p:nvSpPr>
          <p:spPr bwMode="auto">
            <a:xfrm>
              <a:off x="1152872" y="2349576"/>
              <a:ext cx="1254125" cy="2545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З.Дольский</a:t>
              </a:r>
            </a:p>
          </p:txBody>
        </p:sp>
        <p:sp>
          <p:nvSpPr>
            <p:cNvPr id="188" name="Text Box 87"/>
            <p:cNvSpPr txBox="1">
              <a:spLocks noChangeArrowheads="1"/>
            </p:cNvSpPr>
            <p:nvPr/>
          </p:nvSpPr>
          <p:spPr bwMode="auto">
            <a:xfrm>
              <a:off x="203076" y="3477681"/>
              <a:ext cx="1181100" cy="2529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Кайбицкий</a:t>
              </a:r>
            </a:p>
          </p:txBody>
        </p:sp>
        <p:sp>
          <p:nvSpPr>
            <p:cNvPr id="189" name="Text Box 89"/>
            <p:cNvSpPr txBox="1">
              <a:spLocks noChangeArrowheads="1"/>
            </p:cNvSpPr>
            <p:nvPr/>
          </p:nvSpPr>
          <p:spPr bwMode="auto">
            <a:xfrm>
              <a:off x="355289" y="3827370"/>
              <a:ext cx="1431925" cy="2383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пастовский</a:t>
              </a:r>
            </a:p>
          </p:txBody>
        </p:sp>
        <p:sp>
          <p:nvSpPr>
            <p:cNvPr id="190" name="Text Box 91"/>
            <p:cNvSpPr txBox="1">
              <a:spLocks noChangeArrowheads="1"/>
            </p:cNvSpPr>
            <p:nvPr/>
          </p:nvSpPr>
          <p:spPr bwMode="auto">
            <a:xfrm>
              <a:off x="597778" y="4273723"/>
              <a:ext cx="1060450" cy="2367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Буинский</a:t>
              </a:r>
              <a:endParaRPr lang="ru-RU" sz="1200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Text Box 93"/>
            <p:cNvSpPr txBox="1">
              <a:spLocks noChangeArrowheads="1"/>
            </p:cNvSpPr>
            <p:nvPr/>
          </p:nvSpPr>
          <p:spPr bwMode="auto">
            <a:xfrm>
              <a:off x="-165607" y="4805538"/>
              <a:ext cx="1728788" cy="3032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Дрожжановский</a:t>
              </a:r>
            </a:p>
          </p:txBody>
        </p:sp>
        <p:sp>
          <p:nvSpPr>
            <p:cNvPr id="192" name="Text Box 139"/>
            <p:cNvSpPr txBox="1">
              <a:spLocks noChangeArrowheads="1"/>
            </p:cNvSpPr>
            <p:nvPr/>
          </p:nvSpPr>
          <p:spPr bwMode="auto">
            <a:xfrm>
              <a:off x="6704374" y="1858658"/>
              <a:ext cx="1401762" cy="246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грызский</a:t>
              </a:r>
            </a:p>
          </p:txBody>
        </p:sp>
        <p:sp>
          <p:nvSpPr>
            <p:cNvPr id="193" name="Text Box 142"/>
            <p:cNvSpPr txBox="1">
              <a:spLocks noChangeArrowheads="1"/>
            </p:cNvSpPr>
            <p:nvPr/>
          </p:nvSpPr>
          <p:spPr bwMode="auto">
            <a:xfrm>
              <a:off x="6876256" y="5555616"/>
              <a:ext cx="1658937" cy="239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угульминский</a:t>
              </a:r>
            </a:p>
          </p:txBody>
        </p:sp>
        <p:sp>
          <p:nvSpPr>
            <p:cNvPr id="194" name="Text Box 144"/>
            <p:cNvSpPr txBox="1">
              <a:spLocks noChangeArrowheads="1"/>
            </p:cNvSpPr>
            <p:nvPr/>
          </p:nvSpPr>
          <p:spPr bwMode="auto">
            <a:xfrm>
              <a:off x="7624573" y="5892034"/>
              <a:ext cx="1336675" cy="239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авлинский</a:t>
              </a:r>
            </a:p>
          </p:txBody>
        </p:sp>
        <p:sp>
          <p:nvSpPr>
            <p:cNvPr id="195" name="Text Box 148"/>
            <p:cNvSpPr txBox="1">
              <a:spLocks noChangeArrowheads="1"/>
            </p:cNvSpPr>
            <p:nvPr/>
          </p:nvSpPr>
          <p:spPr bwMode="auto">
            <a:xfrm>
              <a:off x="7159764" y="4359917"/>
              <a:ext cx="1544637" cy="2399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знакаевский</a:t>
              </a:r>
            </a:p>
          </p:txBody>
        </p:sp>
        <p:sp>
          <p:nvSpPr>
            <p:cNvPr id="196" name="Text Box 156"/>
            <p:cNvSpPr txBox="1">
              <a:spLocks noChangeArrowheads="1"/>
            </p:cNvSpPr>
            <p:nvPr/>
          </p:nvSpPr>
          <p:spPr bwMode="auto">
            <a:xfrm>
              <a:off x="7356106" y="3909354"/>
              <a:ext cx="1582737" cy="239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услюмовский</a:t>
              </a:r>
            </a:p>
          </p:txBody>
        </p:sp>
        <p:sp>
          <p:nvSpPr>
            <p:cNvPr id="197" name="Text Box 148"/>
            <p:cNvSpPr txBox="1">
              <a:spLocks noChangeArrowheads="1"/>
            </p:cNvSpPr>
            <p:nvPr/>
          </p:nvSpPr>
          <p:spPr bwMode="auto">
            <a:xfrm>
              <a:off x="7649898" y="5033533"/>
              <a:ext cx="1228905" cy="2399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Ютазинский</a:t>
              </a:r>
              <a:endParaRPr lang="ru-RU" sz="1200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8" name="Text Box 139"/>
            <p:cNvSpPr txBox="1">
              <a:spLocks noChangeArrowheads="1"/>
            </p:cNvSpPr>
            <p:nvPr/>
          </p:nvSpPr>
          <p:spPr bwMode="auto">
            <a:xfrm>
              <a:off x="7966940" y="2826488"/>
              <a:ext cx="1401762" cy="2464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ru-RU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12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Актанышский</a:t>
              </a:r>
              <a:endParaRPr lang="ru-RU" sz="1200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727363" y="1901697"/>
            <a:ext cx="446809" cy="150586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7" name="Прямоугольник 6"/>
          <p:cNvSpPr/>
          <p:nvPr/>
        </p:nvSpPr>
        <p:spPr>
          <a:xfrm>
            <a:off x="1248508" y="1901696"/>
            <a:ext cx="1318595" cy="15058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более 750 га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7" name="Прямоугольник 206"/>
          <p:cNvSpPr/>
          <p:nvPr/>
        </p:nvSpPr>
        <p:spPr>
          <a:xfrm>
            <a:off x="723898" y="2137225"/>
            <a:ext cx="446809" cy="150586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208" name="Прямоугольник 207"/>
          <p:cNvSpPr/>
          <p:nvPr/>
        </p:nvSpPr>
        <p:spPr>
          <a:xfrm>
            <a:off x="1298174" y="2138670"/>
            <a:ext cx="1126944" cy="139073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80-150 га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9" name="Прямоугольник 208"/>
          <p:cNvSpPr/>
          <p:nvPr/>
        </p:nvSpPr>
        <p:spPr>
          <a:xfrm>
            <a:off x="723898" y="2376218"/>
            <a:ext cx="446809" cy="15058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210" name="Прямоугольник 209"/>
          <p:cNvSpPr/>
          <p:nvPr/>
        </p:nvSpPr>
        <p:spPr>
          <a:xfrm>
            <a:off x="1245044" y="2376218"/>
            <a:ext cx="1043876" cy="15058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0-55га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1" name="Прямоугольник 210"/>
          <p:cNvSpPr/>
          <p:nvPr/>
        </p:nvSpPr>
        <p:spPr>
          <a:xfrm>
            <a:off x="730824" y="2642919"/>
            <a:ext cx="446809" cy="15058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212" name="Прямоугольник 211"/>
          <p:cNvSpPr/>
          <p:nvPr/>
        </p:nvSpPr>
        <p:spPr>
          <a:xfrm>
            <a:off x="1251969" y="2642919"/>
            <a:ext cx="1183539" cy="15058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0,1-10 га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3" name="Прямоугольник 212"/>
          <p:cNvSpPr/>
          <p:nvPr/>
        </p:nvSpPr>
        <p:spPr>
          <a:xfrm>
            <a:off x="730824" y="2902694"/>
            <a:ext cx="446809" cy="1505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 useBgFill="1">
        <p:nvSpPr>
          <p:cNvPr id="214" name="Прямоугольник 213"/>
          <p:cNvSpPr/>
          <p:nvPr/>
        </p:nvSpPr>
        <p:spPr>
          <a:xfrm>
            <a:off x="1251969" y="2902694"/>
            <a:ext cx="776907" cy="14505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0 га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5" name="Прямоугольник 214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38810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575734" y="989357"/>
            <a:ext cx="11616266" cy="12621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ЛАН РАБОТ НА 2020 ГОД ДЛЯ УТВЕРЖДЕНИЯ ФИНАНСИРОВАНИЯ МЕРОПРИЯТИЙ ПО ПРЕДОТВРАЩЕНИЮ РАСПРОСТРАНЕНИЯ БОРЩЕВИКА СОСНОВСКОГО В 2021 ГОДУ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893618" y="2691249"/>
            <a:ext cx="5621482" cy="66502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оведение мониторинга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900544" y="3564089"/>
            <a:ext cx="5621482" cy="138892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Разработка муниципальной программы или иного муниципального правового акта, обусловливающего осуществление расходов муниципального образования в рамках исполнения расходного обязательства 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907470" y="5178158"/>
            <a:ext cx="5621482" cy="110143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err="1" smtClean="0"/>
              <a:t>Предусмотрение</a:t>
            </a:r>
            <a:r>
              <a:rPr lang="ru-RU" dirty="0" smtClean="0"/>
              <a:t> </a:t>
            </a:r>
            <a:r>
              <a:rPr lang="ru-RU" dirty="0"/>
              <a:t>в </a:t>
            </a:r>
            <a:r>
              <a:rPr lang="ru-RU" dirty="0" smtClean="0"/>
              <a:t>бюджетной </a:t>
            </a:r>
            <a:r>
              <a:rPr lang="ru-RU" dirty="0"/>
              <a:t>росписи местного бюджета  финансирование проведения </a:t>
            </a:r>
            <a:r>
              <a:rPr lang="ru-RU" dirty="0" smtClean="0"/>
              <a:t>мероприятий</a:t>
            </a:r>
            <a:endParaRPr lang="ru-RU" dirty="0"/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7356764" y="3564089"/>
            <a:ext cx="4523755" cy="1388923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</a:rPr>
              <a:t>Разработка Порядка представления межбюджетных трансфертов муниципальным образованиям РТ</a:t>
            </a:r>
          </a:p>
        </p:txBody>
      </p:sp>
      <p:sp>
        <p:nvSpPr>
          <p:cNvPr id="23" name="Прямоугольник с двумя скругленными противолежащими углами 22"/>
          <p:cNvSpPr/>
          <p:nvPr/>
        </p:nvSpPr>
        <p:spPr>
          <a:xfrm>
            <a:off x="7374081" y="5178157"/>
            <a:ext cx="4523755" cy="1101437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>
                <a:solidFill>
                  <a:schemeClr val="tx1"/>
                </a:solidFill>
              </a:rPr>
              <a:t>Разработка </a:t>
            </a:r>
            <a:r>
              <a:rPr lang="ru-RU" sz="1400" dirty="0" smtClean="0">
                <a:solidFill>
                  <a:schemeClr val="tx1"/>
                </a:solidFill>
              </a:rPr>
              <a:t>проектов </a:t>
            </a:r>
            <a:r>
              <a:rPr lang="ru-RU" sz="1400" dirty="0">
                <a:solidFill>
                  <a:schemeClr val="tx1"/>
                </a:solidFill>
              </a:rPr>
              <a:t>нормативно правовых актов, позволяющих возложить обязанность по проведению мероприятий по удалению борщевика на правообладателей</a:t>
            </a:r>
          </a:p>
        </p:txBody>
      </p:sp>
      <p:sp>
        <p:nvSpPr>
          <p:cNvPr id="24" name="Прямоугольник с двумя скругленными противолежащими углами 23"/>
          <p:cNvSpPr/>
          <p:nvPr/>
        </p:nvSpPr>
        <p:spPr>
          <a:xfrm>
            <a:off x="7356764" y="2680857"/>
            <a:ext cx="4523755" cy="675412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рмирует объем потребности на плановый финансовый год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Стрелка вправо 6"/>
          <p:cNvSpPr/>
          <p:nvPr/>
        </p:nvSpPr>
        <p:spPr>
          <a:xfrm>
            <a:off x="6587836" y="2909458"/>
            <a:ext cx="748146" cy="311727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1361209" y="2251459"/>
            <a:ext cx="4727864" cy="4431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6">
                    <a:lumMod val="50000"/>
                  </a:schemeClr>
                </a:solidFill>
              </a:rPr>
              <a:t>Муниципальное образование</a:t>
            </a: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254709" y="2251458"/>
            <a:ext cx="4727864" cy="44315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Минсельхозпрод РТ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0936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1868812" y="6581665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909720" y="677325"/>
            <a:ext cx="9095447" cy="8618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0" rIns="91439" bIns="0" rtlCol="0" anchor="ctr"/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О ПРЕДСТАВЛЕНИИ АКТУАЛЬНОЙ ИНФОРМАЦИИ ПО БОРЩЕВИКУ СОСНОВСКОГО 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6" t="1230" r="1703"/>
          <a:stretch/>
        </p:blipFill>
        <p:spPr bwMode="auto">
          <a:xfrm>
            <a:off x="1116701" y="1506849"/>
            <a:ext cx="4555816" cy="5351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754267" y="5996890"/>
            <a:ext cx="62316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</a:rPr>
              <a:t>До 10 августа </a:t>
            </a:r>
            <a:r>
              <a:rPr lang="ru-RU" sz="1600" b="1" dirty="0" err="1" smtClean="0">
                <a:solidFill>
                  <a:srgbClr val="FF0000"/>
                </a:solidFill>
              </a:rPr>
              <a:t>т.г</a:t>
            </a:r>
            <a:r>
              <a:rPr lang="ru-RU" sz="1600" b="1" dirty="0" smtClean="0">
                <a:solidFill>
                  <a:srgbClr val="FF0000"/>
                </a:solidFill>
              </a:rPr>
              <a:t>. необходимо представить данную информацию. </a:t>
            </a:r>
            <a:br>
              <a:rPr lang="ru-RU" sz="1600" b="1" dirty="0" smtClean="0">
                <a:solidFill>
                  <a:srgbClr val="FF0000"/>
                </a:solidFill>
              </a:rPr>
            </a:br>
            <a:r>
              <a:rPr lang="ru-RU" sz="1600" b="1" i="1" dirty="0" smtClean="0">
                <a:solidFill>
                  <a:srgbClr val="FF0000"/>
                </a:solidFill>
              </a:rPr>
              <a:t>(телефон для контактов 221-76-88 (88-23))</a:t>
            </a:r>
            <a:r>
              <a:rPr lang="ru-RU" sz="1600" b="1" dirty="0" smtClean="0">
                <a:solidFill>
                  <a:srgbClr val="FF0000"/>
                </a:solidFill>
              </a:rPr>
              <a:t>  </a:t>
            </a:r>
            <a:endParaRPr lang="ru-RU" sz="1600" b="1" dirty="0">
              <a:solidFill>
                <a:srgbClr val="FF0000"/>
              </a:solidFill>
            </a:endParaRP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1425" y="1506849"/>
            <a:ext cx="6144531" cy="321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Овал 15"/>
          <p:cNvSpPr/>
          <p:nvPr/>
        </p:nvSpPr>
        <p:spPr>
          <a:xfrm>
            <a:off x="7881642" y="3505504"/>
            <a:ext cx="3809145" cy="1353840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500" b="1" dirty="0">
                <a:solidFill>
                  <a:srgbClr val="FF0000"/>
                </a:solidFill>
              </a:rPr>
              <a:t>Районы выпадут из программы </a:t>
            </a:r>
            <a:r>
              <a:rPr lang="ru-RU" sz="1500" b="1" dirty="0" smtClean="0">
                <a:solidFill>
                  <a:srgbClr val="FF0000"/>
                </a:solidFill>
              </a:rPr>
              <a:t>финансирования в 2021 году, </a:t>
            </a:r>
            <a:r>
              <a:rPr lang="ru-RU" sz="1500" b="1" dirty="0">
                <a:solidFill>
                  <a:srgbClr val="FF0000"/>
                </a:solidFill>
              </a:rPr>
              <a:t>в случае непредставления корректных отчетов </a:t>
            </a:r>
          </a:p>
        </p:txBody>
      </p:sp>
    </p:spTree>
    <p:extLst>
      <p:ext uri="{BB962C8B-B14F-4D97-AF65-F5344CB8AC3E}">
        <p14:creationId xmlns:p14="http://schemas.microsoft.com/office/powerpoint/2010/main" val="41889073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1868812" y="6581665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23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800350" y="814890"/>
            <a:ext cx="7039514" cy="8618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9" tIns="0" rIns="91439" bIns="0" rtlCol="0" anchor="ctr"/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ГИБЕЛЬ ОЗИМЫХ КУЛЬТУР 2019 ГОДА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152650" y="1717475"/>
            <a:ext cx="1724025" cy="130442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3200"/>
              </a:lnSpc>
            </a:pP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сеяно озимых - </a:t>
            </a:r>
          </a:p>
          <a:p>
            <a:pPr algn="ctr">
              <a:lnSpc>
                <a:spcPts val="3200"/>
              </a:lnSpc>
            </a:pPr>
            <a:r>
              <a:rPr lang="ru-RU" sz="200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577,6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ыс.г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411148" y="1717475"/>
            <a:ext cx="2413319" cy="130442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3200"/>
              </a:lnSpc>
            </a:pP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гибло - </a:t>
            </a:r>
          </a:p>
          <a:p>
            <a:pPr algn="ctr">
              <a:lnSpc>
                <a:spcPts val="3200"/>
              </a:lnSpc>
            </a:pPr>
            <a:r>
              <a:rPr lang="ru-RU" sz="20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218,5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ыс.га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ts val="3200"/>
              </a:lnSpc>
            </a:pP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ущерб - </a:t>
            </a:r>
            <a:r>
              <a:rPr lang="ru-RU" sz="20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1,4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млрд </a:t>
            </a:r>
            <a:r>
              <a:rPr lang="ru-RU" strike="sngStrike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7358940" y="1713691"/>
            <a:ext cx="3432885" cy="130820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3200"/>
              </a:lnSpc>
            </a:pP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страховано - </a:t>
            </a:r>
            <a:r>
              <a:rPr lang="ru-RU" sz="200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59,7</a:t>
            </a:r>
            <a:r>
              <a:rPr lang="ru-RU" sz="20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тыс.га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lnSpc>
                <a:spcPts val="3200"/>
              </a:lnSpc>
            </a:pPr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озмещено Минсельхозом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Ф </a:t>
            </a:r>
            <a:b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120,1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млн </a:t>
            </a:r>
            <a:r>
              <a:rPr lang="ru-RU" strike="sngStrike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Стрелка вправо 35"/>
          <p:cNvSpPr/>
          <p:nvPr/>
        </p:nvSpPr>
        <p:spPr>
          <a:xfrm>
            <a:off x="3970376" y="2159806"/>
            <a:ext cx="347071" cy="415976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37" name="Стрелка вправо 36"/>
          <p:cNvSpPr/>
          <p:nvPr/>
        </p:nvSpPr>
        <p:spPr>
          <a:xfrm flipH="1">
            <a:off x="6918168" y="2159806"/>
            <a:ext cx="347071" cy="415976"/>
          </a:xfrm>
          <a:prstGeom prst="rightArrow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pic>
        <p:nvPicPr>
          <p:cNvPr id="38" name="Picture 3" descr="C:\Users\user\Desktop\Договор урожай_Страница_1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64698" y="3373773"/>
            <a:ext cx="2236134" cy="327491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sp>
        <p:nvSpPr>
          <p:cNvPr id="39" name="TextBox 38"/>
          <p:cNvSpPr txBox="1"/>
          <p:nvPr/>
        </p:nvSpPr>
        <p:spPr>
          <a:xfrm>
            <a:off x="5191125" y="4242536"/>
            <a:ext cx="5600700" cy="1384995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грострахование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– инструмент сохранения финансовой устойчивости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52295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7428488" y="3788427"/>
            <a:ext cx="4674612" cy="291778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b="1" dirty="0">
                <a:solidFill>
                  <a:srgbClr val="0070C0"/>
                </a:solidFill>
              </a:rPr>
              <a:t>Страховые компании, осуществляющие </a:t>
            </a:r>
            <a:r>
              <a:rPr lang="ru-RU" b="1" dirty="0" err="1">
                <a:solidFill>
                  <a:srgbClr val="0070C0"/>
                </a:solidFill>
              </a:rPr>
              <a:t>агрострахование</a:t>
            </a:r>
            <a:r>
              <a:rPr lang="ru-RU" b="1" dirty="0">
                <a:solidFill>
                  <a:srgbClr val="0070C0"/>
                </a:solidFill>
              </a:rPr>
              <a:t> в </a:t>
            </a:r>
            <a:r>
              <a:rPr lang="ru-RU" b="1" dirty="0" smtClean="0">
                <a:solidFill>
                  <a:srgbClr val="0070C0"/>
                </a:solidFill>
              </a:rPr>
              <a:t>республике</a:t>
            </a:r>
          </a:p>
          <a:p>
            <a:pPr algn="ctr"/>
            <a:endParaRPr lang="ru-RU" b="1" dirty="0">
              <a:solidFill>
                <a:srgbClr val="0070C0"/>
              </a:solidFill>
            </a:endParaRPr>
          </a:p>
          <a:p>
            <a:pPr algn="ctr"/>
            <a:endParaRPr lang="ru-RU" b="1" dirty="0" smtClean="0">
              <a:solidFill>
                <a:srgbClr val="0070C0"/>
              </a:solidFill>
            </a:endParaRPr>
          </a:p>
          <a:p>
            <a:pPr algn="ctr"/>
            <a:endParaRPr lang="ru-RU" b="1" dirty="0">
              <a:solidFill>
                <a:srgbClr val="0070C0"/>
              </a:solidFill>
            </a:endParaRPr>
          </a:p>
          <a:p>
            <a:pPr algn="ctr"/>
            <a:endParaRPr lang="ru-RU" b="1" dirty="0" smtClean="0">
              <a:solidFill>
                <a:srgbClr val="0070C0"/>
              </a:solidFill>
            </a:endParaRPr>
          </a:p>
          <a:p>
            <a:pPr algn="ctr"/>
            <a:endParaRPr lang="ru-RU" b="1" dirty="0">
              <a:solidFill>
                <a:srgbClr val="0070C0"/>
              </a:solidFill>
            </a:endParaRPr>
          </a:p>
          <a:p>
            <a:pPr algn="ctr"/>
            <a:endParaRPr lang="ru-RU" b="1" dirty="0" smtClean="0">
              <a:solidFill>
                <a:srgbClr val="0070C0"/>
              </a:solidFill>
            </a:endParaRPr>
          </a:p>
          <a:p>
            <a:pPr algn="ctr"/>
            <a:endParaRPr lang="ru-RU" b="1" dirty="0">
              <a:solidFill>
                <a:srgbClr val="0070C0"/>
              </a:solidFill>
            </a:endParaRPr>
          </a:p>
          <a:p>
            <a:pPr algn="ctr"/>
            <a:endParaRPr lang="ru-RU" b="1" dirty="0" smtClean="0">
              <a:solidFill>
                <a:srgbClr val="0070C0"/>
              </a:solidFill>
            </a:endParaRPr>
          </a:p>
          <a:p>
            <a:pPr algn="ctr"/>
            <a:endParaRPr lang="ru-RU" b="1" dirty="0">
              <a:solidFill>
                <a:srgbClr val="0070C0"/>
              </a:solidFill>
            </a:endParaRPr>
          </a:p>
          <a:p>
            <a:pPr algn="ctr"/>
            <a:endParaRPr lang="ru-RU" b="1" dirty="0">
              <a:solidFill>
                <a:srgbClr val="0070C0"/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11868812" y="6581665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92667" y="739302"/>
            <a:ext cx="11599333" cy="8740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СОБЫТИЯ, ГРУППЫ СОБЫТИЙ, ОТ КОТОРЫХ МОЖНО ЗАСТРАХОВАТЬ РИСКИ 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2286992"/>
              </p:ext>
            </p:extLst>
          </p:nvPr>
        </p:nvGraphicFramePr>
        <p:xfrm>
          <a:off x="1068492" y="1777999"/>
          <a:ext cx="6262892" cy="4803664"/>
        </p:xfrm>
        <a:graphic>
          <a:graphicData uri="http://schemas.openxmlformats.org/drawingml/2006/table">
            <a:tbl>
              <a:tblPr>
                <a:tableStyleId>{E8B1032C-EA38-4F05-BA0D-38AFFFC7BED3}</a:tableStyleId>
              </a:tblPr>
              <a:tblGrid>
                <a:gridCol w="373999"/>
                <a:gridCol w="5888893"/>
              </a:tblGrid>
              <a:tr h="32871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1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Атмосферная засуха, почвенная засуха, сухове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81391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2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Заморозки, </a:t>
                      </a:r>
                      <a:r>
                        <a:rPr lang="ru-RU" sz="1600" u="none" strike="noStrike" dirty="0" err="1">
                          <a:effectLst/>
                        </a:rPr>
                        <a:t>выпревание</a:t>
                      </a:r>
                      <a:r>
                        <a:rPr lang="ru-RU" sz="1600" u="none" strike="noStrike" dirty="0">
                          <a:effectLst/>
                        </a:rPr>
                        <a:t>, вымерзание, ледяная корка, раннее появление или установление снежного покрова, промерзание верхнего слоя почвы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657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Град, крупный град, сильный ливень, сильный и (или) продолжительный дождь, переувлажнение почвы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2871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4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Половодье, наводнение, подтопление, паводок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2871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5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Оползень, землетрясение, сход снежных лавин, сель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460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6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Сильная пыльная (песчаная) буря, сильный и (или) ураганный ветер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2871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7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Природный пожар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81391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8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Проникновение и (или) распространение вредных организмов, если такие </a:t>
                      </a:r>
                      <a:r>
                        <a:rPr lang="ru-RU" sz="1600" u="none" strike="noStrike" dirty="0" smtClean="0">
                          <a:effectLst/>
                        </a:rPr>
                        <a:t>события</a:t>
                      </a:r>
                      <a:br>
                        <a:rPr lang="ru-RU" sz="1600" u="none" strike="noStrike" dirty="0" smtClean="0">
                          <a:effectLst/>
                        </a:rPr>
                      </a:br>
                      <a:r>
                        <a:rPr lang="ru-RU" sz="1600" u="none" strike="noStrike" dirty="0" smtClean="0">
                          <a:effectLst/>
                        </a:rPr>
                        <a:t>носят </a:t>
                      </a:r>
                      <a:r>
                        <a:rPr lang="ru-RU" sz="1600" u="none" strike="noStrike" dirty="0" err="1">
                          <a:effectLst/>
                        </a:rPr>
                        <a:t>эпифитотический</a:t>
                      </a:r>
                      <a:r>
                        <a:rPr lang="ru-RU" sz="1600" u="none" strike="noStrike" dirty="0">
                          <a:effectLst/>
                        </a:rPr>
                        <a:t> характер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6574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effectLst/>
                        </a:rPr>
                        <a:t>9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effectLst/>
                        </a:rPr>
                        <a:t>Проникновение и (или) распространение вредных организмов, </a:t>
                      </a:r>
                      <a:r>
                        <a:rPr lang="ru-RU" sz="1600" u="none" strike="noStrike" dirty="0" smtClean="0">
                          <a:effectLst/>
                        </a:rPr>
                        <a:t/>
                      </a:r>
                      <a:br>
                        <a:rPr lang="ru-RU" sz="1600" u="none" strike="noStrike" dirty="0" smtClean="0">
                          <a:effectLst/>
                        </a:rPr>
                      </a:br>
                      <a:r>
                        <a:rPr lang="ru-RU" sz="1600" u="none" strike="noStrike" dirty="0" smtClean="0">
                          <a:effectLst/>
                        </a:rPr>
                        <a:t>если </a:t>
                      </a:r>
                      <a:r>
                        <a:rPr lang="ru-RU" sz="1600" u="none" strike="noStrike" dirty="0">
                          <a:effectLst/>
                        </a:rPr>
                        <a:t>такие события носят </a:t>
                      </a:r>
                      <a:r>
                        <a:rPr lang="ru-RU" sz="1600" u="none" strike="noStrike" dirty="0" err="1">
                          <a:effectLst/>
                        </a:rPr>
                        <a:t>эпифитотический</a:t>
                      </a:r>
                      <a:r>
                        <a:rPr lang="ru-RU" sz="1600" u="none" strike="noStrike" dirty="0">
                          <a:effectLst/>
                        </a:rPr>
                        <a:t> характер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5" name="Овал 4"/>
          <p:cNvSpPr/>
          <p:nvPr/>
        </p:nvSpPr>
        <p:spPr>
          <a:xfrm>
            <a:off x="7561438" y="1789790"/>
            <a:ext cx="2063331" cy="1616243"/>
          </a:xfrm>
          <a:prstGeom prst="ellipse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Всего 27 природных явлений</a:t>
            </a:r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7987482"/>
              </p:ext>
            </p:extLst>
          </p:nvPr>
        </p:nvGraphicFramePr>
        <p:xfrm>
          <a:off x="7485133" y="4716901"/>
          <a:ext cx="4500823" cy="1509966"/>
        </p:xfrm>
        <a:graphic>
          <a:graphicData uri="http://schemas.openxmlformats.org/drawingml/2006/table">
            <a:tbl>
              <a:tblPr firstRow="1" firstCol="1" bandRow="1">
                <a:tableStyleId>{912C8C85-51F0-491E-9774-3900AFEF0FD7}</a:tableStyleId>
              </a:tblPr>
              <a:tblGrid>
                <a:gridCol w="1183420"/>
                <a:gridCol w="1204153"/>
                <a:gridCol w="2113250"/>
              </a:tblGrid>
              <a:tr h="36128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effectLst/>
                        </a:rPr>
                        <a:t>Наименование</a:t>
                      </a:r>
                      <a:endParaRPr lang="ru-RU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ФИО представителя</a:t>
                      </a:r>
                      <a:endParaRPr lang="ru-RU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Контактные данные</a:t>
                      </a:r>
                      <a:endParaRPr lang="ru-RU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36128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</a:rPr>
                        <a:t>АО СК «РСХБ-Страхование» </a:t>
                      </a:r>
                      <a:endParaRPr lang="ru-RU" sz="105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Санкова </a:t>
                      </a:r>
                      <a:r>
                        <a:rPr lang="ru-RU" sz="1050" dirty="0" smtClean="0">
                          <a:effectLst/>
                        </a:rPr>
                        <a:t>О.П.</a:t>
                      </a:r>
                      <a:endParaRPr lang="ru-RU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effectLst/>
                        </a:rPr>
                        <a:t>Моб</a:t>
                      </a:r>
                      <a:r>
                        <a:rPr lang="ru-RU" sz="1050" dirty="0">
                          <a:effectLst/>
                        </a:rPr>
                        <a:t>. +(960) 055 6055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  <a:hlinkClick r:id="rId2"/>
                        </a:rPr>
                        <a:t>sankovaop@rshbins.ru</a:t>
                      </a:r>
                      <a:endParaRPr lang="ru-RU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40582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ООО «СК «Согласие» </a:t>
                      </a:r>
                      <a:endParaRPr lang="ru-RU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Хаметзакиров </a:t>
                      </a:r>
                      <a:r>
                        <a:rPr lang="ru-RU" sz="1050" dirty="0" smtClean="0">
                          <a:effectLst/>
                        </a:rPr>
                        <a:t>Р.М.</a:t>
                      </a:r>
                      <a:endParaRPr lang="ru-RU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effectLst/>
                        </a:rPr>
                        <a:t>Моб</a:t>
                      </a:r>
                      <a:r>
                        <a:rPr lang="ru-RU" sz="1050" dirty="0">
                          <a:effectLst/>
                        </a:rPr>
                        <a:t>. + (917)235 3021 </a:t>
                      </a:r>
                      <a:r>
                        <a:rPr lang="en-US" sz="1050" dirty="0">
                          <a:effectLst/>
                        </a:rPr>
                        <a:t>rail</a:t>
                      </a:r>
                      <a:r>
                        <a:rPr lang="ru-RU" sz="1050" dirty="0">
                          <a:effectLst/>
                        </a:rPr>
                        <a:t>.</a:t>
                      </a:r>
                      <a:r>
                        <a:rPr lang="en-US" sz="1050" dirty="0" err="1">
                          <a:effectLst/>
                        </a:rPr>
                        <a:t>khametzakirov</a:t>
                      </a:r>
                      <a:r>
                        <a:rPr lang="ru-RU" sz="1050" dirty="0">
                          <a:effectLst/>
                        </a:rPr>
                        <a:t>@ </a:t>
                      </a:r>
                      <a:r>
                        <a:rPr lang="en-US" sz="1050" dirty="0" err="1">
                          <a:effectLst/>
                        </a:rPr>
                        <a:t>soglasie</a:t>
                      </a:r>
                      <a:r>
                        <a:rPr lang="ru-RU" sz="1050" dirty="0">
                          <a:effectLst/>
                        </a:rPr>
                        <a:t>.</a:t>
                      </a:r>
                      <a:r>
                        <a:rPr lang="en-US" sz="1050" dirty="0" err="1">
                          <a:effectLst/>
                        </a:rPr>
                        <a:t>ru</a:t>
                      </a:r>
                      <a:r>
                        <a:rPr lang="en-US" sz="1050" dirty="0">
                          <a:effectLst/>
                        </a:rPr>
                        <a:t> </a:t>
                      </a:r>
                      <a:endParaRPr lang="ru-RU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6128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САО «ВСК»</a:t>
                      </a:r>
                      <a:endParaRPr lang="ru-RU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</a:rPr>
                        <a:t>Болотаев Сергей Георгиевич</a:t>
                      </a:r>
                      <a:endParaRPr lang="ru-RU" sz="105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Тел. (843)2120245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u="sng" dirty="0">
                          <a:effectLst/>
                          <a:hlinkClick r:id="rId3"/>
                        </a:rPr>
                        <a:t>b</a:t>
                      </a:r>
                      <a:r>
                        <a:rPr lang="ru-RU" sz="1050" u="sng" dirty="0">
                          <a:effectLst/>
                          <a:hlinkClick r:id="rId3"/>
                        </a:rPr>
                        <a:t>olotaev@VSK.RU</a:t>
                      </a:r>
                      <a:endParaRPr lang="ru-RU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88438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3677040" y="4489655"/>
            <a:ext cx="2885601" cy="525982"/>
          </a:xfrm>
          <a:prstGeom prst="roundRect">
            <a:avLst/>
          </a:prstGeom>
          <a:solidFill>
            <a:srgbClr val="DEE1A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677040" y="3811273"/>
            <a:ext cx="2885601" cy="525982"/>
          </a:xfrm>
          <a:prstGeom prst="roundRect">
            <a:avLst/>
          </a:prstGeom>
          <a:solidFill>
            <a:srgbClr val="DEE1A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575733" y="1068213"/>
            <a:ext cx="1152736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ЗАТРАТЫ ХОЗЯЙСТВ И ГОСУДАРСТВЕННОЕ ВОЗМЕЩЕНИЕ ДОГОВОРОВ СТРАХОВАНИЯ В 2020 ГОДУ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868812" y="6581665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25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653715" y="2591695"/>
            <a:ext cx="1468877" cy="31778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r>
              <a:rPr lang="ru-RU" dirty="0" smtClean="0"/>
              <a:t>50% возмещение из бюджета, руб.</a:t>
            </a:r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10077856" y="2591695"/>
            <a:ext cx="1643974" cy="31778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r>
              <a:rPr lang="ru-RU" dirty="0" smtClean="0"/>
              <a:t>Возмещение затрат хозяйств, руб.</a:t>
            </a:r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sp>
        <p:nvSpPr>
          <p:cNvPr id="21" name="Выноска со стрелкой вправо 20"/>
          <p:cNvSpPr/>
          <p:nvPr/>
        </p:nvSpPr>
        <p:spPr>
          <a:xfrm>
            <a:off x="8180960" y="2591694"/>
            <a:ext cx="1828800" cy="3177851"/>
          </a:xfrm>
          <a:prstGeom prst="rightArrowCallout">
            <a:avLst>
              <a:gd name="adj1" fmla="val 10848"/>
              <a:gd name="adj2" fmla="val 45000"/>
              <a:gd name="adj3" fmla="val 7578"/>
              <a:gd name="adj4" fmla="val 88601"/>
            </a:avLst>
          </a:prstGeom>
          <a:ln>
            <a:solidFill>
              <a:schemeClr val="tx1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Для малых форм хозяйствования : </a:t>
            </a:r>
          </a:p>
          <a:p>
            <a:pPr algn="ctr"/>
            <a:r>
              <a:rPr lang="ru-RU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. рабочих мест </a:t>
            </a:r>
            <a:r>
              <a:rPr lang="en-US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&lt;100</a:t>
            </a:r>
            <a:r>
              <a:rPr lang="ru-RU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; </a:t>
            </a:r>
          </a:p>
          <a:p>
            <a:pPr algn="ctr"/>
            <a:r>
              <a:rPr lang="ru-RU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. выручка </a:t>
            </a:r>
          </a:p>
          <a:p>
            <a:pPr algn="ctr"/>
            <a:r>
              <a:rPr lang="en-US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&lt;</a:t>
            </a:r>
            <a:r>
              <a:rPr lang="ru-RU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00 </a:t>
            </a:r>
            <a:r>
              <a:rPr lang="ru-RU" sz="1200" b="1" i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лн.руб</a:t>
            </a:r>
            <a:r>
              <a:rPr lang="ru-RU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ctr"/>
            <a:endParaRPr lang="ru-RU" sz="1200" b="1" i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12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огектарное финансирование </a:t>
            </a:r>
            <a:r>
              <a:rPr lang="ru-RU" sz="12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зерновых зернобобовых, масличных  (</a:t>
            </a:r>
            <a:r>
              <a:rPr lang="ru-RU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кроме </a:t>
            </a:r>
            <a:endParaRPr lang="ru-RU" sz="1200" b="1" i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200" b="1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рапса и сои</a:t>
            </a:r>
            <a:r>
              <a:rPr lang="ru-RU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2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и кормовых культур</a:t>
            </a:r>
            <a:endParaRPr lang="ru-RU" sz="1200" b="1" u="sng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8026561"/>
              </p:ext>
            </p:extLst>
          </p:nvPr>
        </p:nvGraphicFramePr>
        <p:xfrm>
          <a:off x="590719" y="3020385"/>
          <a:ext cx="5973800" cy="209982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746450"/>
                <a:gridCol w="560829"/>
                <a:gridCol w="910025"/>
                <a:gridCol w="867698"/>
                <a:gridCol w="1301546"/>
                <a:gridCol w="804208"/>
                <a:gridCol w="783044"/>
              </a:tblGrid>
              <a:tr h="6093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П</a:t>
                      </a:r>
                      <a:r>
                        <a:rPr lang="ru-RU" sz="1400" u="none" strike="noStrike" dirty="0" smtClean="0">
                          <a:effectLst/>
                        </a:rPr>
                        <a:t>лощадь</a:t>
                      </a:r>
                      <a:r>
                        <a:rPr lang="ru-RU" sz="1400" u="none" strike="noStrike" dirty="0">
                          <a:effectLst/>
                        </a:rPr>
                        <a:t>, г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Цена</a:t>
                      </a:r>
                      <a:r>
                        <a:rPr lang="ru-RU" sz="1400" u="none" strike="noStrike" dirty="0">
                          <a:effectLst/>
                        </a:rPr>
                        <a:t>, </a:t>
                      </a:r>
                      <a:r>
                        <a:rPr lang="ru-RU" sz="1400" u="none" strike="noStrike" dirty="0" smtClean="0">
                          <a:effectLst/>
                        </a:rPr>
                        <a:t>руб./</a:t>
                      </a:r>
                      <a:r>
                        <a:rPr lang="ru-RU" sz="1400" u="none" strike="noStrike" dirty="0">
                          <a:effectLst/>
                        </a:rPr>
                        <a:t>ц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Урожайность</a:t>
                      </a:r>
                      <a:r>
                        <a:rPr lang="ru-RU" sz="1400" u="none" strike="noStrike" dirty="0">
                          <a:effectLst/>
                        </a:rPr>
                        <a:t>, ц/г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Страховая </a:t>
                      </a:r>
                      <a:r>
                        <a:rPr lang="ru-RU" sz="1400" u="none" strike="noStrike" dirty="0">
                          <a:effectLst/>
                        </a:rPr>
                        <a:t>сумма, </a:t>
                      </a:r>
                      <a:r>
                        <a:rPr lang="ru-RU" sz="1400" u="none" strike="noStrike" dirty="0" smtClean="0">
                          <a:effectLst/>
                        </a:rPr>
                        <a:t>руб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r>
                        <a:rPr lang="ru-RU" sz="1400" u="none" strike="noStrike" dirty="0" smtClean="0">
                          <a:effectLst/>
                        </a:rPr>
                        <a:t>Уровень участия страховател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Т</a:t>
                      </a:r>
                      <a:r>
                        <a:rPr lang="ru-RU" sz="1400" u="none" strike="noStrike" dirty="0" smtClean="0">
                          <a:effectLst/>
                        </a:rPr>
                        <a:t>ариф</a:t>
                      </a:r>
                      <a:r>
                        <a:rPr lang="ru-RU" sz="1400" u="none" strike="noStrike" dirty="0">
                          <a:effectLst/>
                        </a:rPr>
                        <a:t>, 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Премия</a:t>
                      </a:r>
                      <a:r>
                        <a:rPr lang="ru-RU" sz="1400" u="none" strike="noStrike" dirty="0">
                          <a:effectLst/>
                        </a:rPr>
                        <a:t>, </a:t>
                      </a:r>
                      <a:r>
                        <a:rPr lang="ru-RU" sz="1400" u="none" strike="noStrike" dirty="0" smtClean="0">
                          <a:effectLst/>
                        </a:rPr>
                        <a:t>руб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4DBCA"/>
                    </a:solidFill>
                  </a:tcPr>
                </a:tc>
              </a:tr>
              <a:tr h="72511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1   </a:t>
                      </a:r>
                      <a:endParaRPr lang="ru-RU" sz="1600" b="1" i="0" u="none" strike="noStrike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943,7</a:t>
                      </a:r>
                      <a:endParaRPr lang="ru-RU" sz="1600" b="1" i="0" u="none" strike="noStrike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29,3</a:t>
                      </a:r>
                      <a:endParaRPr lang="ru-RU" sz="1600" b="1" i="0" u="none" strike="noStrike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1600" b="1" u="none" strike="noStrike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27 </a:t>
                      </a:r>
                      <a:r>
                        <a:rPr lang="ru-RU" sz="1600" b="1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650   </a:t>
                      </a:r>
                      <a:endParaRPr lang="ru-RU" sz="1600" b="1" i="0" u="none" strike="noStrike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максимальное (</a:t>
                      </a:r>
                      <a:r>
                        <a:rPr lang="ru-RU" sz="140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франшиза 10%) </a:t>
                      </a:r>
                      <a:endParaRPr lang="ru-RU" sz="1400" b="0" i="1" u="none" strike="noStrike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6,00%</a:t>
                      </a:r>
                      <a:endParaRPr lang="ru-RU" sz="1600" b="0" i="0" u="none" strike="noStrike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    1 </a:t>
                      </a:r>
                      <a:r>
                        <a:rPr lang="ru-RU" sz="1600" u="none" strike="noStrike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659</a:t>
                      </a:r>
                      <a:endParaRPr lang="ru-RU" sz="1600" b="1" i="0" u="none" strike="noStrike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7251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оптимальное</a:t>
                      </a:r>
                      <a:r>
                        <a:rPr lang="ru-RU" sz="1400" u="none" strike="noStrike" baseline="0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ru-RU" sz="1400" u="none" strike="noStrike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(франшиза 20%) </a:t>
                      </a:r>
                      <a:endParaRPr lang="ru-RU" sz="1400" b="0" i="1" u="none" strike="noStrike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4,00%</a:t>
                      </a:r>
                      <a:endParaRPr lang="ru-RU" sz="1600" b="0" i="0" u="none" strike="noStrike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u="none" strike="noStrike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    1 </a:t>
                      </a:r>
                      <a:r>
                        <a:rPr lang="ru-RU" sz="1600" u="none" strike="noStrike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</a:rPr>
                        <a:t>106</a:t>
                      </a:r>
                      <a:endParaRPr lang="ru-RU" sz="1600" b="1" i="0" u="none" strike="noStrike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4074480"/>
              </p:ext>
            </p:extLst>
          </p:nvPr>
        </p:nvGraphicFramePr>
        <p:xfrm>
          <a:off x="6896911" y="3953571"/>
          <a:ext cx="982493" cy="1449422"/>
        </p:xfrm>
        <a:graphic>
          <a:graphicData uri="http://schemas.openxmlformats.org/drawingml/2006/table">
            <a:tbl>
              <a:tblPr>
                <a:tableStyleId>{FABFCF23-3B69-468F-B69F-88F6DE6A72F2}</a:tableStyleId>
              </a:tblPr>
              <a:tblGrid>
                <a:gridCol w="982493"/>
              </a:tblGrid>
              <a:tr h="7247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    829,51  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72471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     553,01  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485204"/>
              </p:ext>
            </p:extLst>
          </p:nvPr>
        </p:nvGraphicFramePr>
        <p:xfrm>
          <a:off x="10428051" y="3943845"/>
          <a:ext cx="1011677" cy="1498058"/>
        </p:xfrm>
        <a:graphic>
          <a:graphicData uri="http://schemas.openxmlformats.org/drawingml/2006/table">
            <a:tbl>
              <a:tblPr>
                <a:tableStyleId>{FABFCF23-3B69-468F-B69F-88F6DE6A72F2}</a:tableStyleId>
              </a:tblPr>
              <a:tblGrid>
                <a:gridCol w="1011677"/>
              </a:tblGrid>
              <a:tr h="74902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9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74902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9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951398" y="2524639"/>
            <a:ext cx="56468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/>
              <a:t>Расчёт стоимости страхования озимой пшеницы   </a:t>
            </a:r>
          </a:p>
        </p:txBody>
      </p:sp>
    </p:spTree>
    <p:extLst>
      <p:ext uri="{BB962C8B-B14F-4D97-AF65-F5344CB8AC3E}">
        <p14:creationId xmlns:p14="http://schemas.microsoft.com/office/powerpoint/2010/main" val="24296987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327344" y="572145"/>
            <a:ext cx="10340781" cy="10924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>
              <a:lnSpc>
                <a:spcPts val="2400"/>
              </a:lnSpc>
            </a:pPr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НАЛИЧИЕ КИСЛЫХ ПОЧВ ПО РАЙОНАМ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7941976"/>
              </p:ext>
            </p:extLst>
          </p:nvPr>
        </p:nvGraphicFramePr>
        <p:xfrm>
          <a:off x="1045657" y="1351818"/>
          <a:ext cx="4691596" cy="53726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79058">
                  <a:extLst>
                    <a:ext uri="{9D8B030D-6E8A-4147-A177-3AD203B41FA5}">
                      <a16:colId xmlns:a16="http://schemas.microsoft.com/office/drawing/2014/main" xmlns="" val="2184811909"/>
                    </a:ext>
                  </a:extLst>
                </a:gridCol>
                <a:gridCol w="1497027">
                  <a:extLst>
                    <a:ext uri="{9D8B030D-6E8A-4147-A177-3AD203B41FA5}">
                      <a16:colId xmlns:a16="http://schemas.microsoft.com/office/drawing/2014/main" xmlns="" val="1692319260"/>
                    </a:ext>
                  </a:extLst>
                </a:gridCol>
                <a:gridCol w="1715511">
                  <a:extLst>
                    <a:ext uri="{9D8B030D-6E8A-4147-A177-3AD203B41FA5}">
                      <a16:colId xmlns:a16="http://schemas.microsoft.com/office/drawing/2014/main" xmlns="" val="4012712713"/>
                    </a:ext>
                  </a:extLst>
                </a:gridCol>
              </a:tblGrid>
              <a:tr h="3758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кислых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чв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6414269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ькеев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5,4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6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9569289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урлат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,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6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ктаныш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,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6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0839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ижнекам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,9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6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8961918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абин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,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6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91623260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укаев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,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58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4139142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Чистополь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,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5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752829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ксубаев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,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5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60409704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шешмин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,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5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5965055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Елабуж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,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5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1801995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рожжанов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,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5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9652346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нзелин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,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51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6968923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ексеев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0030353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пас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,5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9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2989146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арманов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,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0919942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р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,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1569922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услюмов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,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9486990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амадыш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ыбно-Слобод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аин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,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нделеев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4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тнин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,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 РТ</a:t>
                      </a:r>
                    </a:p>
                  </a:txBody>
                  <a:tcPr marL="7620" marR="7620" marT="7620" marB="0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14,7</a:t>
                      </a:r>
                    </a:p>
                  </a:txBody>
                  <a:tcPr marL="7620" marR="7620" marT="7620" marB="0" anchor="ctr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2</a:t>
                      </a:r>
                    </a:p>
                  </a:txBody>
                  <a:tcPr marL="7620" marR="7620" marT="7620" marB="0" anchor="ctr">
                    <a:solidFill>
                      <a:srgbClr val="DEE1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72134511"/>
                  </a:ext>
                </a:extLst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айбиц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,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19951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юлячин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,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1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8030042"/>
              </p:ext>
            </p:extLst>
          </p:nvPr>
        </p:nvGraphicFramePr>
        <p:xfrm>
          <a:off x="6409328" y="1310016"/>
          <a:ext cx="4691596" cy="53820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79058">
                  <a:extLst>
                    <a:ext uri="{9D8B030D-6E8A-4147-A177-3AD203B41FA5}">
                      <a16:colId xmlns:a16="http://schemas.microsoft.com/office/drawing/2014/main" xmlns="" val="2184811909"/>
                    </a:ext>
                  </a:extLst>
                </a:gridCol>
                <a:gridCol w="1497027">
                  <a:extLst>
                    <a:ext uri="{9D8B030D-6E8A-4147-A177-3AD203B41FA5}">
                      <a16:colId xmlns:a16="http://schemas.microsoft.com/office/drawing/2014/main" xmlns="" val="1692319260"/>
                    </a:ext>
                  </a:extLst>
                </a:gridCol>
                <a:gridCol w="1715511">
                  <a:extLst>
                    <a:ext uri="{9D8B030D-6E8A-4147-A177-3AD203B41FA5}">
                      <a16:colId xmlns:a16="http://schemas.microsoft.com/office/drawing/2014/main" xmlns="" val="4012712713"/>
                    </a:ext>
                  </a:extLst>
                </a:gridCol>
              </a:tblGrid>
              <a:tr h="4845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кислых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чв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6414269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тюш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,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9569289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Черемшан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,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астов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,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68611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у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,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8961918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укмор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,4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91623260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ерхнеусло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,5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4139142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грызский 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,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752829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аише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,5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60409704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амско-Устьин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,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5965055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естреч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,1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1801995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ысокогор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,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24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9652346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авлин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,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6968923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алтасин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0030353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ениногор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,1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19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2989146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угульмин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0919942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ьметьевский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,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1569922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еленодоль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,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9486990"/>
                  </a:ext>
                </a:extLst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Ютазин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57165"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знакаевский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,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06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490133" y="897467"/>
            <a:ext cx="8873067" cy="3786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>
              <a:lnSpc>
                <a:spcPts val="2400"/>
              </a:lnSpc>
            </a:pPr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ЛАН ИЗВЕСТКОВАНИЯ НА 2020 ГОД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5340654"/>
              </p:ext>
            </p:extLst>
          </p:nvPr>
        </p:nvGraphicFramePr>
        <p:xfrm>
          <a:off x="1472751" y="1270450"/>
          <a:ext cx="8917423" cy="5445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7085">
                  <a:extLst>
                    <a:ext uri="{9D8B030D-6E8A-4147-A177-3AD203B41FA5}">
                      <a16:colId xmlns:a16="http://schemas.microsoft.com/office/drawing/2014/main" xmlns="" val="2184811909"/>
                    </a:ext>
                  </a:extLst>
                </a:gridCol>
                <a:gridCol w="2645670">
                  <a:extLst>
                    <a:ext uri="{9D8B030D-6E8A-4147-A177-3AD203B41FA5}">
                      <a16:colId xmlns:a16="http://schemas.microsoft.com/office/drawing/2014/main" xmlns="" val="1692319260"/>
                    </a:ext>
                  </a:extLst>
                </a:gridCol>
                <a:gridCol w="2017016">
                  <a:extLst>
                    <a:ext uri="{9D8B030D-6E8A-4147-A177-3AD203B41FA5}">
                      <a16:colId xmlns:a16="http://schemas.microsoft.com/office/drawing/2014/main" xmlns="" val="4012712713"/>
                    </a:ext>
                  </a:extLst>
                </a:gridCol>
                <a:gridCol w="2387652"/>
              </a:tblGrid>
              <a:tr h="10515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щади</a:t>
                      </a:r>
                      <a:r>
                        <a:rPr lang="ru-RU" sz="14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ислых </a:t>
                      </a:r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чв на 1.01.2020 г</a:t>
                      </a:r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, </a:t>
                      </a:r>
                      <a:r>
                        <a:rPr lang="ru-RU" sz="14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щади по </a:t>
                      </a:r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СД, </a:t>
                      </a:r>
                      <a:r>
                        <a:rPr lang="ru-RU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 от кислых почв</a:t>
                      </a:r>
                    </a:p>
                  </a:txBody>
                  <a:tcPr marL="7620" marR="7620" marT="7620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6414269"/>
                  </a:ext>
                </a:extLst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алтасин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,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9569289"/>
                  </a:ext>
                </a:extLst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тнин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,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еленодоль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,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338335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уин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,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,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8961918"/>
                  </a:ext>
                </a:extLst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р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,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,4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91623260"/>
                  </a:ext>
                </a:extLst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етюш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,5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4139142"/>
                  </a:ext>
                </a:extLst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рожжанов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8,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752829"/>
                  </a:ext>
                </a:extLst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аин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,8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60409704"/>
                  </a:ext>
                </a:extLst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ениногор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,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5965055"/>
                  </a:ext>
                </a:extLst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ысокогор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,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5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1801995"/>
                  </a:ext>
                </a:extLst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-Слободский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9652346"/>
                  </a:ext>
                </a:extLst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ьметьев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,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5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6968923"/>
                  </a:ext>
                </a:extLst>
              </a:tr>
              <a:tr h="33796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укаев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9,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0030353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10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115677" y="775345"/>
            <a:ext cx="10340781" cy="698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>
              <a:lnSpc>
                <a:spcPts val="2400"/>
              </a:lnSpc>
            </a:pPr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ЛАН ИЗВЕСТКОВАНИЯ НА 2020 ГОД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4143985"/>
              </p:ext>
            </p:extLst>
          </p:nvPr>
        </p:nvGraphicFramePr>
        <p:xfrm>
          <a:off x="1545804" y="1383212"/>
          <a:ext cx="9848007" cy="53322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13132">
                  <a:extLst>
                    <a:ext uri="{9D8B030D-6E8A-4147-A177-3AD203B41FA5}">
                      <a16:colId xmlns:a16="http://schemas.microsoft.com/office/drawing/2014/main" xmlns="" val="2184811909"/>
                    </a:ext>
                  </a:extLst>
                </a:gridCol>
                <a:gridCol w="2070555">
                  <a:extLst>
                    <a:ext uri="{9D8B030D-6E8A-4147-A177-3AD203B41FA5}">
                      <a16:colId xmlns:a16="http://schemas.microsoft.com/office/drawing/2014/main" xmlns="" val="1692319260"/>
                    </a:ext>
                  </a:extLst>
                </a:gridCol>
                <a:gridCol w="2227503">
                  <a:extLst>
                    <a:ext uri="{9D8B030D-6E8A-4147-A177-3AD203B41FA5}">
                      <a16:colId xmlns:a16="http://schemas.microsoft.com/office/drawing/2014/main" xmlns="" val="4012712713"/>
                    </a:ext>
                  </a:extLst>
                </a:gridCol>
                <a:gridCol w="2636817"/>
              </a:tblGrid>
              <a:tr h="7858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щади</a:t>
                      </a:r>
                      <a:r>
                        <a:rPr lang="ru-RU" sz="14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ислых </a:t>
                      </a:r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чв на 1.01.2020 г</a:t>
                      </a:r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, </a:t>
                      </a:r>
                      <a:r>
                        <a:rPr lang="ru-RU" sz="14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щади по </a:t>
                      </a:r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СД, </a:t>
                      </a:r>
                      <a:r>
                        <a:rPr lang="ru-RU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 от кислых почв</a:t>
                      </a:r>
                    </a:p>
                  </a:txBody>
                  <a:tcPr marL="7620" marR="7620" marT="7620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6414269"/>
                  </a:ext>
                </a:extLst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ерхнеуслон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,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9569289"/>
                  </a:ext>
                </a:extLst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укмор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6,4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4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айбиц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,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52837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юлячин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,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18961918"/>
                  </a:ext>
                </a:extLst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астов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,0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91623260"/>
                  </a:ext>
                </a:extLst>
              </a:tr>
              <a:tr h="252561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грызский 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,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8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4139142"/>
                  </a:ext>
                </a:extLst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нделеев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,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752829"/>
                  </a:ext>
                </a:extLst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естречин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,1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60409704"/>
                  </a:ext>
                </a:extLst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 РТ</a:t>
                      </a:r>
                    </a:p>
                  </a:txBody>
                  <a:tcPr marL="7620" marR="7620" marT="7620" marB="0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14,7</a:t>
                      </a:r>
                    </a:p>
                  </a:txBody>
                  <a:tcPr marL="7620" marR="7620" marT="7620" marB="0" anchor="ctr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9,1</a:t>
                      </a:r>
                    </a:p>
                  </a:txBody>
                  <a:tcPr marL="7620" marR="7620" marT="7620" marB="0" anchor="ctr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7620" marR="7620" marT="7620" marB="0" anchor="ctr">
                    <a:solidFill>
                      <a:srgbClr val="DEE1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5965055"/>
                  </a:ext>
                </a:extLst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ензелин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,0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8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абин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5,2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амско-Устьин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,2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ексеев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,7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Лаишев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,5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1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ксубаев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,2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8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1801995"/>
                  </a:ext>
                </a:extLst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амадыш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,7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9652346"/>
                  </a:ext>
                </a:extLst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услюмов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,0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6968923"/>
                  </a:ext>
                </a:extLst>
              </a:tr>
              <a:tr h="252561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ькеев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5,4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0030353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79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327343" y="644973"/>
            <a:ext cx="10340781" cy="698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>
              <a:lnSpc>
                <a:spcPts val="2400"/>
              </a:lnSpc>
            </a:pPr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ЛАН ИЗВЕСТКОВАНИЯ НА 2020 ГОД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2995858"/>
              </p:ext>
            </p:extLst>
          </p:nvPr>
        </p:nvGraphicFramePr>
        <p:xfrm>
          <a:off x="1327344" y="1270450"/>
          <a:ext cx="10130976" cy="51797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34664">
                  <a:extLst>
                    <a:ext uri="{9D8B030D-6E8A-4147-A177-3AD203B41FA5}">
                      <a16:colId xmlns:a16="http://schemas.microsoft.com/office/drawing/2014/main" xmlns="" val="2184811909"/>
                    </a:ext>
                  </a:extLst>
                </a:gridCol>
                <a:gridCol w="2860386">
                  <a:extLst>
                    <a:ext uri="{9D8B030D-6E8A-4147-A177-3AD203B41FA5}">
                      <a16:colId xmlns:a16="http://schemas.microsoft.com/office/drawing/2014/main" xmlns="" val="1692319260"/>
                    </a:ext>
                  </a:extLst>
                </a:gridCol>
                <a:gridCol w="2189555">
                  <a:extLst>
                    <a:ext uri="{9D8B030D-6E8A-4147-A177-3AD203B41FA5}">
                      <a16:colId xmlns:a16="http://schemas.microsoft.com/office/drawing/2014/main" xmlns="" val="4012712713"/>
                    </a:ext>
                  </a:extLst>
                </a:gridCol>
                <a:gridCol w="2146371"/>
              </a:tblGrid>
              <a:tr h="8730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щади</a:t>
                      </a:r>
                      <a:r>
                        <a:rPr lang="ru-RU" sz="14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ислых </a:t>
                      </a:r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чв на 1.01.2020 г</a:t>
                      </a:r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, </a:t>
                      </a:r>
                      <a:r>
                        <a:rPr lang="ru-RU" sz="14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ощади по </a:t>
                      </a:r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СД, </a:t>
                      </a:r>
                      <a:r>
                        <a:rPr lang="ru-RU" sz="14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ыс.га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 от кислых почв</a:t>
                      </a:r>
                    </a:p>
                  </a:txBody>
                  <a:tcPr marL="7620" marR="7620" marT="7620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6414269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Черемшан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,6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752829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арманов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,5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60409704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урлат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,5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5965055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знакаев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,8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,5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1801995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ктаныш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6,3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9652346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пас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,5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7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6968923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Елабуж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,6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,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0030353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ижнекам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,9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,9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2989146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Чистополь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,0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0919942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авлинский</a:t>
                      </a:r>
                    </a:p>
                  </a:txBody>
                  <a:tcPr marL="7620" marR="7620" marT="7620" marB="0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,2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,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1569922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овошешмин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7,1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,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9486990"/>
                  </a:ext>
                </a:extLst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угульмин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,7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331289">
                <a:tc>
                  <a:txBody>
                    <a:bodyPr/>
                    <a:lstStyle/>
                    <a:p>
                      <a:pPr algn="l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Ютазинский</a:t>
                      </a:r>
                    </a:p>
                  </a:txBody>
                  <a:tcPr marL="7620" marR="7620" marT="7620" marB="0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9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79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4790485" y="1371408"/>
            <a:ext cx="2039193" cy="348626"/>
          </a:xfrm>
          <a:prstGeom prst="roundRect">
            <a:avLst/>
          </a:prstGeom>
          <a:solidFill>
            <a:srgbClr val="DEE1A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750627" y="1720033"/>
            <a:ext cx="10295588" cy="338554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участия в программе в 2021 году необходимо формировать ПСД </a:t>
            </a: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01.09.2020</a:t>
            </a:r>
            <a:endParaRPr lang="ru-RU" sz="16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0627" y="820212"/>
            <a:ext cx="11407506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>
            <a:defPPr>
              <a:defRPr lang="ru-RU"/>
            </a:defPPr>
            <a:lvl1pPr algn="ctr">
              <a:defRPr sz="3200">
                <a:solidFill>
                  <a:srgbClr val="0070C0"/>
                </a:solidFill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ПРОГРАММА ИЗВЕСТКОВАНИЯ КИСЛЫХ ПОЧВ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50627" y="3047071"/>
            <a:ext cx="10295588" cy="58477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же сегодня при формировании структуры необходимо определить площади под известкование (пары, </a:t>
            </a:r>
            <a:r>
              <a:rPr lang="ru-RU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ннеубираемые</a:t>
            </a:r>
            <a:r>
              <a:rPr lang="ru-RU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ультуры)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50627" y="2090859"/>
            <a:ext cx="10295588" cy="58477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олучения субсидии в 2021 году в срок до 1 ноября </a:t>
            </a:r>
            <a:r>
              <a:rPr lang="ru-RU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г</a:t>
            </a:r>
            <a:r>
              <a:rPr lang="ru-RU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подготовить документы и представить потребность в субсидиях согласно затратам на проведение известкования кислых почв</a:t>
            </a: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122" name="Picture 2" descr="C:\Users\Новичков\Desktop\1e24176a-48bb-44f6-9fe5-74db31832823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36" b="24182"/>
          <a:stretch/>
        </p:blipFill>
        <p:spPr bwMode="auto">
          <a:xfrm>
            <a:off x="750627" y="3714245"/>
            <a:ext cx="5059454" cy="2759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C:\Users\Новичков\Desktop\02b5a237-0c51-4549-84fa-7295adb13dd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218" t="19699" b="12508"/>
          <a:stretch/>
        </p:blipFill>
        <p:spPr bwMode="auto">
          <a:xfrm>
            <a:off x="5980015" y="3714245"/>
            <a:ext cx="5195086" cy="2759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106073" y="1347131"/>
            <a:ext cx="1497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2020 год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797229" y="2713332"/>
            <a:ext cx="2039193" cy="348626"/>
          </a:xfrm>
          <a:prstGeom prst="roundRect">
            <a:avLst/>
          </a:prstGeom>
          <a:solidFill>
            <a:srgbClr val="DEE1A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5112817" y="2680963"/>
            <a:ext cx="1497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2021 год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399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6821587" y="913205"/>
            <a:ext cx="4628644" cy="369332"/>
          </a:xfrm>
          <a:prstGeom prst="roundRect">
            <a:avLst/>
          </a:prstGeom>
          <a:solidFill>
            <a:srgbClr val="DEE1A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254516" y="693525"/>
            <a:ext cx="10340781" cy="6983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lnSpc>
                <a:spcPts val="2400"/>
              </a:lnSpc>
            </a:pPr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ВЫВОЗКА ИЗВЕСТИ НА ПОЛЯ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3681607"/>
              </p:ext>
            </p:extLst>
          </p:nvPr>
        </p:nvGraphicFramePr>
        <p:xfrm>
          <a:off x="922743" y="1238083"/>
          <a:ext cx="5283848" cy="476091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21090">
                  <a:extLst>
                    <a:ext uri="{9D8B030D-6E8A-4147-A177-3AD203B41FA5}">
                      <a16:colId xmlns:a16="http://schemas.microsoft.com/office/drawing/2014/main" xmlns="" val="2184811909"/>
                    </a:ext>
                  </a:extLst>
                </a:gridCol>
                <a:gridCol w="2662758">
                  <a:extLst>
                    <a:ext uri="{9D8B030D-6E8A-4147-A177-3AD203B41FA5}">
                      <a16:colId xmlns:a16="http://schemas.microsoft.com/office/drawing/2014/main" xmlns="" val="1692319260"/>
                    </a:ext>
                  </a:extLst>
                </a:gridCol>
              </a:tblGrid>
              <a:tr h="4693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йоны</a:t>
                      </a:r>
                      <a:endParaRPr lang="ru-RU" sz="13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844" marR="8844" marT="8844" marB="0" anchor="ctr">
                    <a:solidFill>
                      <a:srgbClr val="366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едстоит к вывозке, </a:t>
                      </a:r>
                      <a:r>
                        <a:rPr lang="ru-RU" sz="1300" b="0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н</a:t>
                      </a:r>
                      <a:endParaRPr lang="ru-RU" sz="13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solidFill>
                      <a:srgbClr val="366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6414269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рский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 973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66752829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абинский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 45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ктанышский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 974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уинский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 925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тнинский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 597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рожжановский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 538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Чистопольский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 354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60409704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ексеевский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 052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5965055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ькеевский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 456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71801995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алтасинский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 011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9652346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ксубаевский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 663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06968923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укаевский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 60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60030353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ижнекамский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 08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12989146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ысокогорский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 82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0919942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юлячинский</a:t>
                      </a:r>
                    </a:p>
                  </a:txBody>
                  <a:tcPr marL="7620" marR="7620" marT="7620" marB="0" anchor="b">
                    <a:solidFill>
                      <a:srgbClr val="C2CE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 160</a:t>
                      </a:r>
                    </a:p>
                  </a:txBody>
                  <a:tcPr marL="7620" marR="7620" marT="7620" marB="0" anchor="ctr">
                    <a:solidFill>
                      <a:srgbClr val="C2CEB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1569922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.Слободский</a:t>
                      </a: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 889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39486990"/>
                  </a:ext>
                </a:extLst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.Дольски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620" marR="7620" marT="7620" marB="0" anchor="b">
                    <a:solidFill>
                      <a:srgbClr val="D4DB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 406</a:t>
                      </a:r>
                    </a:p>
                  </a:txBody>
                  <a:tcPr marL="7620" marR="7620" marT="7620" marB="0" anchor="ctr">
                    <a:solidFill>
                      <a:srgbClr val="D4DBCA"/>
                    </a:solidFill>
                  </a:tcPr>
                </a:tc>
              </a:tr>
              <a:tr h="238421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того по РТ</a:t>
                      </a:r>
                    </a:p>
                  </a:txBody>
                  <a:tcPr marL="7620" marR="7620" marT="7620" marB="0" anchor="ctr">
                    <a:solidFill>
                      <a:srgbClr val="DEE1A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1 678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620" marR="7620" marT="7620" marB="0" anchor="ctr">
                    <a:solidFill>
                      <a:srgbClr val="DEE1A1"/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7007703" y="905112"/>
            <a:ext cx="4442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 smtClean="0"/>
              <a:t>Договора составлены на </a:t>
            </a:r>
            <a:r>
              <a:rPr lang="ru-RU" b="1" i="1" dirty="0" smtClean="0"/>
              <a:t>83,9 </a:t>
            </a:r>
            <a:r>
              <a:rPr lang="ru-RU" b="1" i="1" dirty="0" err="1" smtClean="0"/>
              <a:t>тыс.га</a:t>
            </a:r>
            <a:endParaRPr lang="ru-RU" b="1" i="1" dirty="0"/>
          </a:p>
        </p:txBody>
      </p:sp>
      <p:sp>
        <p:nvSpPr>
          <p:cNvPr id="7" name="TextBox 6"/>
          <p:cNvSpPr txBox="1"/>
          <p:nvPr/>
        </p:nvSpPr>
        <p:spPr>
          <a:xfrm>
            <a:off x="841571" y="6158040"/>
            <a:ext cx="53326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дача – завершить внесение к 30 сентября! </a:t>
            </a:r>
            <a:endParaRPr lang="ru-RU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9" name="Picture 3" descr="C:\Users\Новичков\Desktop\ec80e623-3e91-4adf-9f6d-4b0a044090e3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47" b="37092"/>
          <a:stretch/>
        </p:blipFill>
        <p:spPr bwMode="auto">
          <a:xfrm>
            <a:off x="6608366" y="1391830"/>
            <a:ext cx="4841865" cy="251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C:\Users\Новичков\Desktop\dd30deb6-fa1f-4552-bd41-22ea4b9202d4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7" t="27368" b="5869"/>
          <a:stretch/>
        </p:blipFill>
        <p:spPr bwMode="auto">
          <a:xfrm>
            <a:off x="6608366" y="4126937"/>
            <a:ext cx="4841866" cy="251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11763375" y="6621641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329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3697759" y="1453997"/>
            <a:ext cx="5640973" cy="415499"/>
          </a:xfrm>
          <a:prstGeom prst="roundRect">
            <a:avLst/>
          </a:prstGeom>
          <a:solidFill>
            <a:srgbClr val="DEE1A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806824" y="915389"/>
            <a:ext cx="113851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СЕВ </a:t>
            </a:r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ПОЖНИВНЫХ СИДЕРАЛЬНЫХ КУЛЬТУР </a:t>
            </a:r>
            <a:b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800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не менее 10% зернового клина)</a:t>
            </a:r>
            <a:endParaRPr lang="ru-RU" sz="2800" dirty="0">
              <a:solidFill>
                <a:schemeClr val="accent6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1868812" y="6581665"/>
            <a:ext cx="234288" cy="21283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/>
          <a:p>
            <a:pPr indent="0" algn="ctr"/>
            <a:r>
              <a:rPr lang="ru" sz="1400" spc="100" dirty="0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" sz="1400" spc="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1309" b="10735"/>
          <a:stretch/>
        </p:blipFill>
        <p:spPr bwMode="auto">
          <a:xfrm>
            <a:off x="1032610" y="2032000"/>
            <a:ext cx="10836201" cy="46560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1106072" y="4693969"/>
            <a:ext cx="3946392" cy="1887696"/>
          </a:xfrm>
          <a:prstGeom prst="rect">
            <a:avLst/>
          </a:prstGeom>
          <a:solidFill>
            <a:srgbClr val="FFFFFF">
              <a:alpha val="49020"/>
            </a:srgb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3500"/>
              </a:lnSpc>
            </a:pPr>
            <a:r>
              <a:rPr lang="ru-RU" sz="2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горчица </a:t>
            </a:r>
            <a:r>
              <a:rPr lang="ru-RU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белая </a:t>
            </a:r>
            <a:endParaRPr lang="ru-RU" sz="2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>
              <a:lnSpc>
                <a:spcPts val="3500"/>
              </a:lnSpc>
            </a:pPr>
            <a:r>
              <a:rPr lang="ru-RU" sz="2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редька </a:t>
            </a:r>
            <a:r>
              <a:rPr lang="ru-RU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масличная </a:t>
            </a:r>
            <a:endParaRPr lang="ru-RU" sz="2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>
              <a:lnSpc>
                <a:spcPts val="3500"/>
              </a:lnSpc>
            </a:pPr>
            <a:r>
              <a:rPr lang="ru-RU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сурепица</a:t>
            </a:r>
            <a:endParaRPr lang="ru-RU" sz="26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>
              <a:lnSpc>
                <a:spcPts val="3500"/>
              </a:lnSpc>
            </a:pPr>
            <a:r>
              <a:rPr lang="ru-RU" sz="2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рапс </a:t>
            </a:r>
            <a:r>
              <a:rPr lang="ru-RU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яровой</a:t>
            </a:r>
            <a:endParaRPr lang="ru-RU" sz="26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16530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1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463</TotalTime>
  <Words>2020</Words>
  <Application>Microsoft Office PowerPoint</Application>
  <PresentationFormat>Произвольный</PresentationFormat>
  <Paragraphs>1054</Paragraphs>
  <Slides>25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29" baseType="lpstr">
      <vt:lpstr>16_Firm Format - Russian</vt:lpstr>
      <vt:lpstr>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ЛИЧЕСТВО ОСНОВНЫХ ЭЛЕМЕНТОВ ПИТАНИЯ,  ОСТАВЛЯЕМЫХ В КОРНЕВЫХ И ПОЖНИВНЫХ ОСТАТКАХ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olopov</dc:creator>
  <cp:lastModifiedBy>Pressa</cp:lastModifiedBy>
  <cp:revision>7124</cp:revision>
  <cp:lastPrinted>2020-07-29T10:31:20Z</cp:lastPrinted>
  <dcterms:created xsi:type="dcterms:W3CDTF">2017-01-20T06:03:46Z</dcterms:created>
  <dcterms:modified xsi:type="dcterms:W3CDTF">2020-07-29T11:38:33Z</dcterms:modified>
</cp:coreProperties>
</file>